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5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30"/>
  </p:notesMasterIdLst>
  <p:sldIdLst>
    <p:sldId id="303" r:id="rId2"/>
    <p:sldId id="278" r:id="rId3"/>
    <p:sldId id="316" r:id="rId4"/>
    <p:sldId id="317" r:id="rId5"/>
    <p:sldId id="319" r:id="rId6"/>
    <p:sldId id="320" r:id="rId7"/>
    <p:sldId id="327" r:id="rId8"/>
    <p:sldId id="325" r:id="rId9"/>
    <p:sldId id="324" r:id="rId10"/>
    <p:sldId id="321" r:id="rId11"/>
    <p:sldId id="322" r:id="rId12"/>
    <p:sldId id="323" r:id="rId13"/>
    <p:sldId id="326" r:id="rId14"/>
    <p:sldId id="328" r:id="rId15"/>
    <p:sldId id="329" r:id="rId16"/>
    <p:sldId id="330" r:id="rId17"/>
    <p:sldId id="331" r:id="rId18"/>
    <p:sldId id="334" r:id="rId19"/>
    <p:sldId id="332" r:id="rId20"/>
    <p:sldId id="333" r:id="rId21"/>
    <p:sldId id="335" r:id="rId22"/>
    <p:sldId id="336" r:id="rId23"/>
    <p:sldId id="337" r:id="rId24"/>
    <p:sldId id="338" r:id="rId25"/>
    <p:sldId id="339" r:id="rId26"/>
    <p:sldId id="340" r:id="rId27"/>
    <p:sldId id="341" r:id="rId28"/>
    <p:sldId id="302" r:id="rId29"/>
  </p:sldIdLst>
  <p:sldSz cx="9144000" cy="5143500" type="screen16x9"/>
  <p:notesSz cx="6858000" cy="9947275"/>
  <p:custDataLst>
    <p:tags r:id="rId31"/>
  </p:custDataLst>
  <p:defaultTextStyle>
    <a:defPPr>
      <a:defRPr lang="zh-CN"/>
    </a:defPPr>
    <a:lvl1pPr marL="0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8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6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44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92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40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FEEDD"/>
    <a:srgbClr val="FFCC99"/>
    <a:srgbClr val="FF9966"/>
    <a:srgbClr val="89B2DC"/>
    <a:srgbClr val="000000"/>
    <a:srgbClr val="B9E1FF"/>
    <a:srgbClr val="D5ED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8733" autoAdjust="0"/>
  </p:normalViewPr>
  <p:slideViewPr>
    <p:cSldViewPr snapToGrid="0">
      <p:cViewPr varScale="1">
        <p:scale>
          <a:sx n="88" d="100"/>
          <a:sy n="88" d="100"/>
        </p:scale>
        <p:origin x="96" y="48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A4A327-9B99-43B8-B4C6-09D5DF374051}" type="datetimeFigureOut">
              <a:rPr lang="zh-CN" altLang="en-US" smtClean="0"/>
              <a:t>2017/7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" y="746125"/>
            <a:ext cx="6629400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724956"/>
            <a:ext cx="5486400" cy="447627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5B6FFA-D89C-41FD-833B-B83AB6FFE37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29576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8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44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92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40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5B6FFA-D89C-41FD-833B-B83AB6FFE374}" type="slidenum">
              <a:rPr lang="zh-CN" altLang="en-US" smtClean="0"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33090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5B6FFA-D89C-41FD-833B-B83AB6FFE374}" type="slidenum">
              <a:rPr lang="zh-CN" altLang="en-US" smtClean="0"/>
              <a:t>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370958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5B6FFA-D89C-41FD-833B-B83AB6FFE374}" type="slidenum">
              <a:rPr lang="zh-CN" altLang="en-US" smtClean="0"/>
              <a:t>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778334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5B6FFA-D89C-41FD-833B-B83AB6FFE374}" type="slidenum">
              <a:rPr lang="zh-CN" altLang="en-US" smtClean="0"/>
              <a:t>1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64191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5B6FFA-D89C-41FD-833B-B83AB6FFE374}" type="slidenum">
              <a:rPr lang="zh-CN" altLang="en-US" smtClean="0"/>
              <a:t>1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532940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5B6FFA-D89C-41FD-833B-B83AB6FFE374}" type="slidenum">
              <a:rPr lang="zh-CN" altLang="en-US" smtClean="0"/>
              <a:t>2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925341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eo 仅标题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457200" y="252000"/>
            <a:ext cx="8233200" cy="795089"/>
          </a:xfrm>
        </p:spPr>
        <p:txBody>
          <a:bodyPr vert="horz" lIns="0" tIns="0" rIns="0" bIns="0" rtlCol="0">
            <a:noAutofit/>
          </a:bodyPr>
          <a:lstStyle>
            <a:lvl1pPr>
              <a:defRPr lang="zh-CN" altLang="en-US" dirty="0"/>
            </a:lvl1pPr>
          </a:lstStyle>
          <a:p>
            <a:pPr marL="0"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tabLst/>
            </a:pPr>
            <a:r>
              <a:rPr lang="en-US" altLang="zh-CN" dirty="0" smtClean="0"/>
              <a:t>CLICK TO ADD TITLE</a:t>
            </a:r>
            <a:br>
              <a:rPr lang="en-US" altLang="zh-CN" dirty="0" smtClean="0"/>
            </a:br>
            <a:r>
              <a:rPr lang="en-US" altLang="zh-CN" dirty="0" smtClean="0"/>
              <a:t>28 PT BOLD, MAX 2 LINES</a:t>
            </a:r>
            <a:endParaRPr lang="zh-CN" altLang="en-US" dirty="0"/>
          </a:p>
        </p:txBody>
      </p:sp>
      <p:cxnSp>
        <p:nvCxnSpPr>
          <p:cNvPr id="3" name="直接连接符 2"/>
          <p:cNvCxnSpPr/>
          <p:nvPr userDrawn="1"/>
        </p:nvCxnSpPr>
        <p:spPr>
          <a:xfrm>
            <a:off x="457200" y="4670125"/>
            <a:ext cx="82332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4776868"/>
            <a:ext cx="869967" cy="19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8758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eo 空白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8034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占位符 6"/>
          <p:cNvSpPr>
            <a:spLocks noGrp="1"/>
          </p:cNvSpPr>
          <p:nvPr>
            <p:ph type="title"/>
          </p:nvPr>
        </p:nvSpPr>
        <p:spPr>
          <a:xfrm>
            <a:off x="457200" y="252000"/>
            <a:ext cx="8233200" cy="7950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tabLst/>
            </a:pPr>
            <a:r>
              <a:rPr lang="en-US" altLang="zh-CN" dirty="0" smtClean="0"/>
              <a:t>CLICK TO ADD TITLE</a:t>
            </a:r>
            <a:br>
              <a:rPr lang="en-US" altLang="zh-CN" dirty="0" smtClean="0"/>
            </a:br>
            <a:r>
              <a:rPr lang="en-US" altLang="zh-CN" dirty="0" smtClean="0"/>
              <a:t>28 PT BOLD, MAX 2 LINES</a:t>
            </a:r>
            <a:endParaRPr lang="zh-CN" altLang="en-US" dirty="0"/>
          </a:p>
        </p:txBody>
      </p:sp>
      <p:sp>
        <p:nvSpPr>
          <p:cNvPr id="3" name="文本框 2"/>
          <p:cNvSpPr txBox="1"/>
          <p:nvPr userDrawn="1"/>
        </p:nvSpPr>
        <p:spPr>
          <a:xfrm>
            <a:off x="8566969" y="4815143"/>
            <a:ext cx="123431" cy="12311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0" marR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2875935B-605D-4CD2-B794-6660D8CCC1D3}" type="slidenum">
              <a:rPr kumimoji="0" lang="zh-CN" altLang="en-US" sz="80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微软雅黑" pitchFamily="34" charset="-122"/>
              </a:rPr>
              <a:pPr marL="0" marR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zh-CN" altLang="en-US" sz="8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54415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1" r:id="rId2"/>
  </p:sldLayoutIdLst>
  <p:hf hdr="0" ftr="0" dt="0"/>
  <p:txStyles>
    <p:titleStyle>
      <a:lvl1pPr marL="1107999" indent="-1450274" algn="l" defTabSz="914296" rtl="0" eaLnBrk="1" latinLnBrk="0" hangingPunct="1">
        <a:lnSpc>
          <a:spcPct val="96000"/>
        </a:lnSpc>
        <a:spcBef>
          <a:spcPct val="0"/>
        </a:spcBef>
        <a:buFontTx/>
        <a:buNone/>
        <a:defRPr kumimoji="0" lang="zh-CN" alt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</p:titleStyle>
    <p:bodyStyle>
      <a:lvl1pPr marL="0" marR="0" indent="0" algn="l" defTabSz="914296" rtl="0" eaLnBrk="1" fontAlgn="auto" latinLnBrk="0" hangingPunct="1">
        <a:lnSpc>
          <a:spcPct val="96000"/>
        </a:lnSpc>
        <a:spcBef>
          <a:spcPts val="0"/>
        </a:spcBef>
        <a:spcAft>
          <a:spcPts val="0"/>
        </a:spcAft>
        <a:buClrTx/>
        <a:buSzTx/>
        <a:buFont typeface="Arial" pitchFamily="34" charset="0"/>
        <a:buNone/>
        <a:tabLst/>
        <a:defRPr sz="2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865" indent="-285717" algn="l" defTabSz="914296" rtl="0" eaLnBrk="1" latinLnBrk="0" hangingPunct="1">
        <a:spcBef>
          <a:spcPts val="18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70" indent="-228574" algn="l" defTabSz="914296" rtl="0" eaLnBrk="1" latinLnBrk="0" hangingPunct="1">
        <a:spcBef>
          <a:spcPts val="18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18" indent="-228574" algn="l" defTabSz="914296" rtl="0" eaLnBrk="1" latinLnBrk="0" hangingPunct="1">
        <a:spcBef>
          <a:spcPts val="18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66" indent="-228574" algn="l" defTabSz="914296" rtl="0" eaLnBrk="1" latinLnBrk="0" hangingPunct="1">
        <a:spcBef>
          <a:spcPts val="18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14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5.png"/><Relationship Id="rId5" Type="http://schemas.openxmlformats.org/officeDocument/2006/relationships/tags" Target="../tags/tag5.xml"/><Relationship Id="rId10" Type="http://schemas.openxmlformats.org/officeDocument/2006/relationships/image" Target="../media/image4.png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jpeg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5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2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22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9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image" Target="../media/image2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7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image" Target="../media/image2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49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48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image" Target="../media/image2.em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9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3.xml"/><Relationship Id="rId7" Type="http://schemas.openxmlformats.org/officeDocument/2006/relationships/oleObject" Target="../embeddings/oleObject8.bin"/><Relationship Id="rId2" Type="http://schemas.openxmlformats.org/officeDocument/2006/relationships/tags" Target="../tags/tag52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9" Type="http://schemas.openxmlformats.org/officeDocument/2006/relationships/image" Target="../media/image4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75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矩形 10"/>
          <p:cNvSpPr/>
          <p:nvPr>
            <p:custDataLst>
              <p:tags r:id="rId3"/>
            </p:custDataLst>
          </p:nvPr>
        </p:nvSpPr>
        <p:spPr>
          <a:xfrm>
            <a:off x="0" y="3810000"/>
            <a:ext cx="9144000" cy="133350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0679" tIns="30679" rIns="30679" bIns="306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79252"/>
            <a:endParaRPr lang="zh-CN" altLang="en-US" sz="1000" kern="0" dirty="0">
              <a:latin typeface="+mj-lt"/>
              <a:ea typeface="宋体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457200" y="4207311"/>
            <a:ext cx="8233200" cy="538879"/>
            <a:chOff x="457199" y="4203675"/>
            <a:chExt cx="8233200" cy="538879"/>
          </a:xfrm>
        </p:grpSpPr>
        <p:grpSp>
          <p:nvGrpSpPr>
            <p:cNvPr id="189" name="组合 188"/>
            <p:cNvGrpSpPr/>
            <p:nvPr/>
          </p:nvGrpSpPr>
          <p:grpSpPr>
            <a:xfrm>
              <a:off x="457199" y="4203675"/>
              <a:ext cx="558083" cy="538879"/>
              <a:chOff x="1040531" y="5815908"/>
              <a:chExt cx="550553" cy="531608"/>
            </a:xfrm>
          </p:grpSpPr>
          <p:cxnSp>
            <p:nvCxnSpPr>
              <p:cNvPr id="226" name="Straight Connector 86"/>
              <p:cNvCxnSpPr>
                <a:stCxn id="229" idx="5"/>
                <a:endCxn id="232" idx="1"/>
              </p:cNvCxnSpPr>
              <p:nvPr/>
            </p:nvCxnSpPr>
            <p:spPr>
              <a:xfrm rot="16200000" flipH="1">
                <a:off x="1208800" y="5949856"/>
                <a:ext cx="213774" cy="263711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87"/>
              <p:cNvCxnSpPr>
                <a:stCxn id="231" idx="7"/>
                <a:endCxn id="230" idx="3"/>
              </p:cNvCxnSpPr>
              <p:nvPr/>
            </p:nvCxnSpPr>
            <p:spPr>
              <a:xfrm rot="5400000" flipH="1" flipV="1">
                <a:off x="1208800" y="5949856"/>
                <a:ext cx="213774" cy="263711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8" name="Oval 88"/>
              <p:cNvSpPr/>
              <p:nvPr/>
            </p:nvSpPr>
            <p:spPr>
              <a:xfrm>
                <a:off x="1260349" y="6020842"/>
                <a:ext cx="112254" cy="109092"/>
              </a:xfrm>
              <a:prstGeom prst="ellipse">
                <a:avLst/>
              </a:prstGeom>
              <a:solidFill>
                <a:schemeClr val="bg1"/>
              </a:solidFill>
              <a:ln w="9525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 smtClean="0">
                  <a:solidFill>
                    <a:schemeClr val="bg1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29" name="Oval 89"/>
              <p:cNvSpPr/>
              <p:nvPr/>
            </p:nvSpPr>
            <p:spPr>
              <a:xfrm>
                <a:off x="1088017" y="5881709"/>
                <a:ext cx="112254" cy="109092"/>
              </a:xfrm>
              <a:prstGeom prst="ellipse">
                <a:avLst/>
              </a:prstGeom>
              <a:solidFill>
                <a:schemeClr val="bg1"/>
              </a:solidFill>
              <a:ln w="9525" cmpd="sng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 smtClean="0">
                  <a:solidFill>
                    <a:srgbClr val="000000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30" name="Oval 90"/>
              <p:cNvSpPr/>
              <p:nvPr/>
            </p:nvSpPr>
            <p:spPr>
              <a:xfrm>
                <a:off x="1431103" y="5881709"/>
                <a:ext cx="112254" cy="109092"/>
              </a:xfrm>
              <a:prstGeom prst="ellipse">
                <a:avLst/>
              </a:prstGeom>
              <a:solidFill>
                <a:schemeClr val="bg1"/>
              </a:solidFill>
              <a:ln w="9525" cmpd="sng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 smtClean="0">
                  <a:solidFill>
                    <a:srgbClr val="000000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31" name="Oval 91"/>
              <p:cNvSpPr/>
              <p:nvPr/>
            </p:nvSpPr>
            <p:spPr>
              <a:xfrm>
                <a:off x="1088017" y="6172622"/>
                <a:ext cx="112254" cy="109092"/>
              </a:xfrm>
              <a:prstGeom prst="ellipse">
                <a:avLst/>
              </a:prstGeom>
              <a:solidFill>
                <a:schemeClr val="bg1"/>
              </a:solidFill>
              <a:ln w="9525" cmpd="sng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 smtClean="0">
                  <a:solidFill>
                    <a:srgbClr val="000000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32" name="Oval 92"/>
              <p:cNvSpPr/>
              <p:nvPr/>
            </p:nvSpPr>
            <p:spPr>
              <a:xfrm>
                <a:off x="1431103" y="6172622"/>
                <a:ext cx="112254" cy="109092"/>
              </a:xfrm>
              <a:prstGeom prst="ellipse">
                <a:avLst/>
              </a:prstGeom>
              <a:solidFill>
                <a:schemeClr val="bg1"/>
              </a:solidFill>
              <a:ln w="9525" cmpd="sng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 smtClean="0">
                  <a:solidFill>
                    <a:srgbClr val="000000"/>
                  </a:solidFill>
                  <a:latin typeface="+mj-lt"/>
                  <a:cs typeface="Arial" pitchFamily="34" charset="0"/>
                </a:endParaRPr>
              </a:p>
            </p:txBody>
          </p:sp>
          <p:cxnSp>
            <p:nvCxnSpPr>
              <p:cNvPr id="233" name="Straight Connector 97"/>
              <p:cNvCxnSpPr>
                <a:stCxn id="241" idx="0"/>
                <a:endCxn id="229" idx="3"/>
              </p:cNvCxnSpPr>
              <p:nvPr/>
            </p:nvCxnSpPr>
            <p:spPr>
              <a:xfrm flipV="1">
                <a:off x="1070621" y="5974825"/>
                <a:ext cx="33835" cy="70190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4" name="Straight Connector 98"/>
              <p:cNvCxnSpPr>
                <a:stCxn id="241" idx="2"/>
                <a:endCxn id="231" idx="1"/>
              </p:cNvCxnSpPr>
              <p:nvPr/>
            </p:nvCxnSpPr>
            <p:spPr>
              <a:xfrm>
                <a:off x="1070621" y="6105195"/>
                <a:ext cx="33835" cy="83403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Straight Connector 99"/>
              <p:cNvCxnSpPr>
                <a:stCxn id="229" idx="7"/>
                <a:endCxn id="243" idx="1"/>
              </p:cNvCxnSpPr>
              <p:nvPr/>
            </p:nvCxnSpPr>
            <p:spPr>
              <a:xfrm flipV="1">
                <a:off x="1183832" y="5845998"/>
                <a:ext cx="102555" cy="51687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6" name="Straight Connector 100"/>
              <p:cNvCxnSpPr>
                <a:stCxn id="243" idx="3"/>
                <a:endCxn id="230" idx="1"/>
              </p:cNvCxnSpPr>
              <p:nvPr/>
            </p:nvCxnSpPr>
            <p:spPr>
              <a:xfrm>
                <a:off x="1346567" y="5845998"/>
                <a:ext cx="100975" cy="51687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7" name="Straight Connector 101"/>
              <p:cNvCxnSpPr>
                <a:stCxn id="244" idx="0"/>
                <a:endCxn id="230" idx="5"/>
              </p:cNvCxnSpPr>
              <p:nvPr/>
            </p:nvCxnSpPr>
            <p:spPr>
              <a:xfrm flipH="1" flipV="1">
                <a:off x="1526918" y="5974825"/>
                <a:ext cx="34076" cy="70190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Straight Connector 102"/>
              <p:cNvCxnSpPr>
                <a:stCxn id="244" idx="2"/>
                <a:endCxn id="232" idx="7"/>
              </p:cNvCxnSpPr>
              <p:nvPr/>
            </p:nvCxnSpPr>
            <p:spPr>
              <a:xfrm flipH="1">
                <a:off x="1526918" y="6105195"/>
                <a:ext cx="34076" cy="83403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9" name="Straight Connector 103"/>
              <p:cNvCxnSpPr>
                <a:stCxn id="232" idx="3"/>
                <a:endCxn id="242" idx="3"/>
              </p:cNvCxnSpPr>
              <p:nvPr/>
            </p:nvCxnSpPr>
            <p:spPr>
              <a:xfrm flipH="1">
                <a:off x="1346567" y="6265738"/>
                <a:ext cx="100975" cy="51688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Straight Connector 104"/>
              <p:cNvCxnSpPr>
                <a:stCxn id="242" idx="1"/>
                <a:endCxn id="231" idx="5"/>
              </p:cNvCxnSpPr>
              <p:nvPr/>
            </p:nvCxnSpPr>
            <p:spPr>
              <a:xfrm flipH="1" flipV="1">
                <a:off x="1183832" y="6265738"/>
                <a:ext cx="102555" cy="51688"/>
              </a:xfrm>
              <a:prstGeom prst="line">
                <a:avLst/>
              </a:prstGeom>
              <a:ln w="19050">
                <a:solidFill>
                  <a:schemeClr val="bg1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1" name="矩形 10"/>
              <p:cNvSpPr/>
              <p:nvPr/>
            </p:nvSpPr>
            <p:spPr>
              <a:xfrm>
                <a:off x="1040531" y="6045015"/>
                <a:ext cx="60180" cy="60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+mj-lt"/>
                </a:endParaRPr>
              </a:p>
            </p:txBody>
          </p:sp>
          <p:sp>
            <p:nvSpPr>
              <p:cNvPr id="242" name="矩形 168"/>
              <p:cNvSpPr/>
              <p:nvPr/>
            </p:nvSpPr>
            <p:spPr>
              <a:xfrm>
                <a:off x="1286387" y="6287336"/>
                <a:ext cx="60180" cy="60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+mj-lt"/>
                </a:endParaRPr>
              </a:p>
            </p:txBody>
          </p:sp>
          <p:sp>
            <p:nvSpPr>
              <p:cNvPr id="243" name="矩形 169"/>
              <p:cNvSpPr/>
              <p:nvPr/>
            </p:nvSpPr>
            <p:spPr>
              <a:xfrm>
                <a:off x="1286387" y="5815908"/>
                <a:ext cx="60180" cy="60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+mj-lt"/>
                </a:endParaRPr>
              </a:p>
            </p:txBody>
          </p:sp>
          <p:sp>
            <p:nvSpPr>
              <p:cNvPr id="244" name="矩形 171"/>
              <p:cNvSpPr/>
              <p:nvPr/>
            </p:nvSpPr>
            <p:spPr>
              <a:xfrm>
                <a:off x="1530904" y="6045015"/>
                <a:ext cx="60180" cy="60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+mj-lt"/>
                </a:endParaRPr>
              </a:p>
            </p:txBody>
          </p:sp>
        </p:grpSp>
        <p:pic>
          <p:nvPicPr>
            <p:cNvPr id="190" name="图片 5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073" t="25449" r="30070" b="32619"/>
            <a:stretch/>
          </p:blipFill>
          <p:spPr>
            <a:xfrm>
              <a:off x="6641621" y="4216457"/>
              <a:ext cx="489353" cy="513314"/>
            </a:xfrm>
            <a:prstGeom prst="rect">
              <a:avLst/>
            </a:prstGeom>
          </p:spPr>
        </p:pic>
        <p:pic>
          <p:nvPicPr>
            <p:cNvPr id="191" name="图片 15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224" t="33148" r="32520" b="42592"/>
            <a:stretch/>
          </p:blipFill>
          <p:spPr>
            <a:xfrm>
              <a:off x="5624367" y="4280241"/>
              <a:ext cx="621317" cy="385747"/>
            </a:xfrm>
            <a:prstGeom prst="rect">
              <a:avLst/>
            </a:prstGeom>
          </p:spPr>
        </p:pic>
        <p:pic>
          <p:nvPicPr>
            <p:cNvPr id="192" name="图片 16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458" t="36666" r="28104" b="46111"/>
            <a:stretch/>
          </p:blipFill>
          <p:spPr>
            <a:xfrm>
              <a:off x="3998027" y="4240538"/>
              <a:ext cx="1230403" cy="465152"/>
            </a:xfrm>
            <a:prstGeom prst="rect">
              <a:avLst/>
            </a:prstGeom>
          </p:spPr>
        </p:pic>
        <p:grpSp>
          <p:nvGrpSpPr>
            <p:cNvPr id="193" name="组合 192"/>
            <p:cNvGrpSpPr/>
            <p:nvPr/>
          </p:nvGrpSpPr>
          <p:grpSpPr>
            <a:xfrm>
              <a:off x="1411219" y="4279523"/>
              <a:ext cx="558199" cy="387182"/>
              <a:chOff x="1937365" y="5929191"/>
              <a:chExt cx="550668" cy="381958"/>
            </a:xfrm>
          </p:grpSpPr>
          <p:sp>
            <p:nvSpPr>
              <p:cNvPr id="216" name="圆角矩形 215"/>
              <p:cNvSpPr/>
              <p:nvPr/>
            </p:nvSpPr>
            <p:spPr>
              <a:xfrm>
                <a:off x="2084611" y="6009920"/>
                <a:ext cx="256175" cy="153749"/>
              </a:xfrm>
              <a:prstGeom prst="roundRect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17" name="圆角矩形 216"/>
              <p:cNvSpPr/>
              <p:nvPr/>
            </p:nvSpPr>
            <p:spPr>
              <a:xfrm>
                <a:off x="1983863" y="5991376"/>
                <a:ext cx="63712" cy="42548"/>
              </a:xfrm>
              <a:prstGeom prst="roundRect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18" name="圆角矩形 217"/>
              <p:cNvSpPr/>
              <p:nvPr/>
            </p:nvSpPr>
            <p:spPr>
              <a:xfrm>
                <a:off x="1983863" y="6080038"/>
                <a:ext cx="63712" cy="42548"/>
              </a:xfrm>
              <a:prstGeom prst="roundRect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19" name="椭圆 218"/>
              <p:cNvSpPr/>
              <p:nvPr/>
            </p:nvSpPr>
            <p:spPr>
              <a:xfrm>
                <a:off x="1990234" y="6168700"/>
                <a:ext cx="50970" cy="50400"/>
              </a:xfrm>
              <a:prstGeom prst="ellipse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20" name="圆角矩形 219"/>
              <p:cNvSpPr/>
              <p:nvPr/>
            </p:nvSpPr>
            <p:spPr>
              <a:xfrm>
                <a:off x="2377822" y="5991376"/>
                <a:ext cx="63712" cy="42548"/>
              </a:xfrm>
              <a:prstGeom prst="roundRect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21" name="圆角矩形 220"/>
              <p:cNvSpPr/>
              <p:nvPr/>
            </p:nvSpPr>
            <p:spPr>
              <a:xfrm>
                <a:off x="2377822" y="6080038"/>
                <a:ext cx="63712" cy="42548"/>
              </a:xfrm>
              <a:prstGeom prst="roundRect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22" name="椭圆 221"/>
              <p:cNvSpPr/>
              <p:nvPr/>
            </p:nvSpPr>
            <p:spPr>
              <a:xfrm>
                <a:off x="2384193" y="6168700"/>
                <a:ext cx="50970" cy="50400"/>
              </a:xfrm>
              <a:prstGeom prst="ellipse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23" name="圆角矩形 222"/>
              <p:cNvSpPr/>
              <p:nvPr/>
            </p:nvSpPr>
            <p:spPr>
              <a:xfrm>
                <a:off x="1937365" y="5929191"/>
                <a:ext cx="550668" cy="381958"/>
              </a:xfrm>
              <a:prstGeom prst="roundRect">
                <a:avLst/>
              </a:prstGeom>
              <a:noFill/>
              <a:ln w="2857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24" name="矩形 223"/>
              <p:cNvSpPr/>
              <p:nvPr/>
            </p:nvSpPr>
            <p:spPr>
              <a:xfrm>
                <a:off x="2084611" y="6220695"/>
                <a:ext cx="84950" cy="42548"/>
              </a:xfrm>
              <a:prstGeom prst="rect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  <p:sp>
            <p:nvSpPr>
              <p:cNvPr id="225" name="矩形 224"/>
              <p:cNvSpPr/>
              <p:nvPr/>
            </p:nvSpPr>
            <p:spPr>
              <a:xfrm>
                <a:off x="2255836" y="6220695"/>
                <a:ext cx="84950" cy="42548"/>
              </a:xfrm>
              <a:prstGeom prst="rect">
                <a:avLst/>
              </a:prstGeom>
              <a:solidFill>
                <a:sysClr val="window" lastClr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/>
                  <a:ea typeface="华文细黑"/>
                  <a:cs typeface="+mn-cs"/>
                </a:endParaRPr>
              </a:p>
            </p:txBody>
          </p:sp>
        </p:grpSp>
        <p:grpSp>
          <p:nvGrpSpPr>
            <p:cNvPr id="194" name="组合 193"/>
            <p:cNvGrpSpPr/>
            <p:nvPr/>
          </p:nvGrpSpPr>
          <p:grpSpPr>
            <a:xfrm>
              <a:off x="8166077" y="4273445"/>
              <a:ext cx="524322" cy="399338"/>
              <a:chOff x="3822028" y="3091426"/>
              <a:chExt cx="438399" cy="333896"/>
            </a:xfrm>
          </p:grpSpPr>
          <p:sp>
            <p:nvSpPr>
              <p:cNvPr id="211" name="圆角矩形 210"/>
              <p:cNvSpPr/>
              <p:nvPr/>
            </p:nvSpPr>
            <p:spPr>
              <a:xfrm>
                <a:off x="3822028" y="3091426"/>
                <a:ext cx="438399" cy="333896"/>
              </a:xfrm>
              <a:prstGeom prst="roundRect">
                <a:avLst>
                  <a:gd name="adj" fmla="val 9820"/>
                </a:avLst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2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ea typeface="宋体"/>
                  <a:cs typeface="+mn-cs"/>
                </a:endParaRPr>
              </a:p>
            </p:txBody>
          </p:sp>
          <p:sp>
            <p:nvSpPr>
              <p:cNvPr id="212" name="矩形 211"/>
              <p:cNvSpPr/>
              <p:nvPr/>
            </p:nvSpPr>
            <p:spPr>
              <a:xfrm>
                <a:off x="3822028" y="3158490"/>
                <a:ext cx="438399" cy="82800"/>
              </a:xfrm>
              <a:prstGeom prst="rect">
                <a:avLst/>
              </a:prstGeom>
              <a:solidFill>
                <a:schemeClr val="bg1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2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ea typeface="宋体"/>
                  <a:cs typeface="+mn-cs"/>
                </a:endParaRPr>
              </a:p>
            </p:txBody>
          </p:sp>
          <p:grpSp>
            <p:nvGrpSpPr>
              <p:cNvPr id="213" name="组合 212"/>
              <p:cNvGrpSpPr/>
              <p:nvPr/>
            </p:nvGrpSpPr>
            <p:grpSpPr>
              <a:xfrm>
                <a:off x="3872662" y="3333750"/>
                <a:ext cx="198939" cy="36000"/>
                <a:chOff x="3872662" y="3333750"/>
                <a:chExt cx="198939" cy="36000"/>
              </a:xfrm>
            </p:grpSpPr>
            <p:sp>
              <p:nvSpPr>
                <p:cNvPr id="214" name="矩形 213"/>
                <p:cNvSpPr/>
                <p:nvPr/>
              </p:nvSpPr>
              <p:spPr>
                <a:xfrm>
                  <a:off x="3963601" y="3333750"/>
                  <a:ext cx="108000" cy="36000"/>
                </a:xfrm>
                <a:prstGeom prst="rect">
                  <a:avLst/>
                </a:prstGeom>
                <a:solidFill>
                  <a:schemeClr val="bg1"/>
                </a:solidFill>
                <a:ln w="1905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zh-CN" altLang="en-US" sz="1200" b="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ea typeface="宋体"/>
                    <a:cs typeface="+mn-cs"/>
                  </a:endParaRPr>
                </a:p>
              </p:txBody>
            </p:sp>
            <p:sp>
              <p:nvSpPr>
                <p:cNvPr id="215" name="矩形 214"/>
                <p:cNvSpPr/>
                <p:nvPr/>
              </p:nvSpPr>
              <p:spPr>
                <a:xfrm>
                  <a:off x="3872662" y="3333750"/>
                  <a:ext cx="57600" cy="36000"/>
                </a:xfrm>
                <a:prstGeom prst="rect">
                  <a:avLst/>
                </a:prstGeom>
                <a:solidFill>
                  <a:schemeClr val="bg1"/>
                </a:solidFill>
                <a:ln w="1905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zh-CN" altLang="en-US" sz="1200" b="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ea typeface="宋体"/>
                    <a:cs typeface="+mn-cs"/>
                  </a:endParaRPr>
                </a:p>
              </p:txBody>
            </p:sp>
          </p:grpSp>
        </p:grpSp>
        <p:sp>
          <p:nvSpPr>
            <p:cNvPr id="195" name="KSO_Shape"/>
            <p:cNvSpPr>
              <a:spLocks/>
            </p:cNvSpPr>
            <p:nvPr/>
          </p:nvSpPr>
          <p:spPr bwMode="auto">
            <a:xfrm>
              <a:off x="7526911" y="4226596"/>
              <a:ext cx="243232" cy="493037"/>
            </a:xfrm>
            <a:custGeom>
              <a:avLst/>
              <a:gdLst>
                <a:gd name="T0" fmla="*/ 134485 w 2938"/>
                <a:gd name="T1" fmla="*/ 2420 h 5511"/>
                <a:gd name="T2" fmla="*/ 89887 w 2938"/>
                <a:gd name="T3" fmla="*/ 15901 h 5511"/>
                <a:gd name="T4" fmla="*/ 51858 w 2938"/>
                <a:gd name="T5" fmla="*/ 41481 h 5511"/>
                <a:gd name="T6" fmla="*/ 22817 w 2938"/>
                <a:gd name="T7" fmla="*/ 77085 h 5511"/>
                <a:gd name="T8" fmla="*/ 4840 w 2938"/>
                <a:gd name="T9" fmla="*/ 119257 h 5511"/>
                <a:gd name="T10" fmla="*/ 0 w 2938"/>
                <a:gd name="T11" fmla="*/ 1746336 h 5511"/>
                <a:gd name="T12" fmla="*/ 4840 w 2938"/>
                <a:gd name="T13" fmla="*/ 1786089 h 5511"/>
                <a:gd name="T14" fmla="*/ 22817 w 2938"/>
                <a:gd name="T15" fmla="*/ 1828606 h 5511"/>
                <a:gd name="T16" fmla="*/ 51858 w 2938"/>
                <a:gd name="T17" fmla="*/ 1863865 h 5511"/>
                <a:gd name="T18" fmla="*/ 89887 w 2938"/>
                <a:gd name="T19" fmla="*/ 1889445 h 5511"/>
                <a:gd name="T20" fmla="*/ 134485 w 2938"/>
                <a:gd name="T21" fmla="*/ 1903272 h 5511"/>
                <a:gd name="T22" fmla="*/ 864989 w 2938"/>
                <a:gd name="T23" fmla="*/ 1905000 h 5511"/>
                <a:gd name="T24" fmla="*/ 911316 w 2938"/>
                <a:gd name="T25" fmla="*/ 1895667 h 5511"/>
                <a:gd name="T26" fmla="*/ 952111 w 2938"/>
                <a:gd name="T27" fmla="*/ 1873544 h 5511"/>
                <a:gd name="T28" fmla="*/ 984263 w 2938"/>
                <a:gd name="T29" fmla="*/ 1841396 h 5511"/>
                <a:gd name="T30" fmla="*/ 1006043 w 2938"/>
                <a:gd name="T31" fmla="*/ 1800953 h 5511"/>
                <a:gd name="T32" fmla="*/ 1015377 w 2938"/>
                <a:gd name="T33" fmla="*/ 1754633 h 5511"/>
                <a:gd name="T34" fmla="*/ 1013994 w 2938"/>
                <a:gd name="T35" fmla="*/ 134812 h 5511"/>
                <a:gd name="T36" fmla="*/ 999820 w 2938"/>
                <a:gd name="T37" fmla="*/ 90220 h 5511"/>
                <a:gd name="T38" fmla="*/ 974237 w 2938"/>
                <a:gd name="T39" fmla="*/ 52542 h 5511"/>
                <a:gd name="T40" fmla="*/ 938973 w 2938"/>
                <a:gd name="T41" fmla="*/ 23160 h 5511"/>
                <a:gd name="T42" fmla="*/ 896450 w 2938"/>
                <a:gd name="T43" fmla="*/ 5531 h 5511"/>
                <a:gd name="T44" fmla="*/ 412789 w 2938"/>
                <a:gd name="T45" fmla="*/ 127553 h 5511"/>
                <a:gd name="T46" fmla="*/ 615380 w 2938"/>
                <a:gd name="T47" fmla="*/ 129973 h 5511"/>
                <a:gd name="T48" fmla="*/ 629209 w 2938"/>
                <a:gd name="T49" fmla="*/ 141034 h 5511"/>
                <a:gd name="T50" fmla="*/ 635086 w 2938"/>
                <a:gd name="T51" fmla="*/ 159009 h 5511"/>
                <a:gd name="T52" fmla="*/ 630938 w 2938"/>
                <a:gd name="T53" fmla="*/ 174219 h 5511"/>
                <a:gd name="T54" fmla="*/ 618146 w 2938"/>
                <a:gd name="T55" fmla="*/ 187009 h 5511"/>
                <a:gd name="T56" fmla="*/ 412789 w 2938"/>
                <a:gd name="T57" fmla="*/ 190811 h 5511"/>
                <a:gd name="T58" fmla="*/ 397577 w 2938"/>
                <a:gd name="T59" fmla="*/ 187009 h 5511"/>
                <a:gd name="T60" fmla="*/ 384440 w 2938"/>
                <a:gd name="T61" fmla="*/ 174219 h 5511"/>
                <a:gd name="T62" fmla="*/ 380637 w 2938"/>
                <a:gd name="T63" fmla="*/ 159009 h 5511"/>
                <a:gd name="T64" fmla="*/ 386168 w 2938"/>
                <a:gd name="T65" fmla="*/ 141034 h 5511"/>
                <a:gd name="T66" fmla="*/ 400343 w 2938"/>
                <a:gd name="T67" fmla="*/ 129973 h 5511"/>
                <a:gd name="T68" fmla="*/ 507516 w 2938"/>
                <a:gd name="T69" fmla="*/ 1841742 h 5511"/>
                <a:gd name="T70" fmla="*/ 479513 w 2938"/>
                <a:gd name="T71" fmla="*/ 1837594 h 5511"/>
                <a:gd name="T72" fmla="*/ 454275 w 2938"/>
                <a:gd name="T73" fmla="*/ 1825495 h 5511"/>
                <a:gd name="T74" fmla="*/ 434223 w 2938"/>
                <a:gd name="T75" fmla="*/ 1806829 h 5511"/>
                <a:gd name="T76" fmla="*/ 420049 w 2938"/>
                <a:gd name="T77" fmla="*/ 1783323 h 5511"/>
                <a:gd name="T78" fmla="*/ 413134 w 2938"/>
                <a:gd name="T79" fmla="*/ 1756015 h 5511"/>
                <a:gd name="T80" fmla="*/ 413826 w 2938"/>
                <a:gd name="T81" fmla="*/ 1731818 h 5511"/>
                <a:gd name="T82" fmla="*/ 422123 w 2938"/>
                <a:gd name="T83" fmla="*/ 1704856 h 5511"/>
                <a:gd name="T84" fmla="*/ 437335 w 2938"/>
                <a:gd name="T85" fmla="*/ 1682387 h 5511"/>
                <a:gd name="T86" fmla="*/ 458078 w 2938"/>
                <a:gd name="T87" fmla="*/ 1665103 h 5511"/>
                <a:gd name="T88" fmla="*/ 483661 w 2938"/>
                <a:gd name="T89" fmla="*/ 1654042 h 5511"/>
                <a:gd name="T90" fmla="*/ 507516 w 2938"/>
                <a:gd name="T91" fmla="*/ 1651277 h 5511"/>
                <a:gd name="T92" fmla="*/ 536210 w 2938"/>
                <a:gd name="T93" fmla="*/ 1655425 h 5511"/>
                <a:gd name="T94" fmla="*/ 561102 w 2938"/>
                <a:gd name="T95" fmla="*/ 1667523 h 5511"/>
                <a:gd name="T96" fmla="*/ 581154 w 2938"/>
                <a:gd name="T97" fmla="*/ 1685498 h 5511"/>
                <a:gd name="T98" fmla="*/ 595674 w 2938"/>
                <a:gd name="T99" fmla="*/ 1709349 h 5511"/>
                <a:gd name="T100" fmla="*/ 602589 w 2938"/>
                <a:gd name="T101" fmla="*/ 1737003 h 5511"/>
                <a:gd name="T102" fmla="*/ 601897 w 2938"/>
                <a:gd name="T103" fmla="*/ 1761200 h 5511"/>
                <a:gd name="T104" fmla="*/ 593600 w 2938"/>
                <a:gd name="T105" fmla="*/ 1787817 h 5511"/>
                <a:gd name="T106" fmla="*/ 578388 w 2938"/>
                <a:gd name="T107" fmla="*/ 1810631 h 5511"/>
                <a:gd name="T108" fmla="*/ 556954 w 2938"/>
                <a:gd name="T109" fmla="*/ 1827915 h 5511"/>
                <a:gd name="T110" fmla="*/ 531370 w 2938"/>
                <a:gd name="T111" fmla="*/ 1838631 h 5511"/>
                <a:gd name="T112" fmla="*/ 952456 w 2938"/>
                <a:gd name="T113" fmla="*/ 1587673 h 551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938" h="5511">
                  <a:moveTo>
                    <a:pt x="2479" y="0"/>
                  </a:moveTo>
                  <a:lnTo>
                    <a:pt x="458" y="0"/>
                  </a:lnTo>
                  <a:lnTo>
                    <a:pt x="435" y="1"/>
                  </a:lnTo>
                  <a:lnTo>
                    <a:pt x="412" y="3"/>
                  </a:lnTo>
                  <a:lnTo>
                    <a:pt x="389" y="7"/>
                  </a:lnTo>
                  <a:lnTo>
                    <a:pt x="366" y="11"/>
                  </a:lnTo>
                  <a:lnTo>
                    <a:pt x="345" y="16"/>
                  </a:lnTo>
                  <a:lnTo>
                    <a:pt x="322" y="22"/>
                  </a:lnTo>
                  <a:lnTo>
                    <a:pt x="301" y="29"/>
                  </a:lnTo>
                  <a:lnTo>
                    <a:pt x="281" y="37"/>
                  </a:lnTo>
                  <a:lnTo>
                    <a:pt x="260" y="46"/>
                  </a:lnTo>
                  <a:lnTo>
                    <a:pt x="240" y="56"/>
                  </a:lnTo>
                  <a:lnTo>
                    <a:pt x="221" y="67"/>
                  </a:lnTo>
                  <a:lnTo>
                    <a:pt x="203" y="80"/>
                  </a:lnTo>
                  <a:lnTo>
                    <a:pt x="184" y="93"/>
                  </a:lnTo>
                  <a:lnTo>
                    <a:pt x="167" y="106"/>
                  </a:lnTo>
                  <a:lnTo>
                    <a:pt x="150" y="120"/>
                  </a:lnTo>
                  <a:lnTo>
                    <a:pt x="135" y="135"/>
                  </a:lnTo>
                  <a:lnTo>
                    <a:pt x="119" y="152"/>
                  </a:lnTo>
                  <a:lnTo>
                    <a:pt x="104" y="169"/>
                  </a:lnTo>
                  <a:lnTo>
                    <a:pt x="91" y="186"/>
                  </a:lnTo>
                  <a:lnTo>
                    <a:pt x="78" y="203"/>
                  </a:lnTo>
                  <a:lnTo>
                    <a:pt x="66" y="223"/>
                  </a:lnTo>
                  <a:lnTo>
                    <a:pt x="55" y="242"/>
                  </a:lnTo>
                  <a:lnTo>
                    <a:pt x="45" y="261"/>
                  </a:lnTo>
                  <a:lnTo>
                    <a:pt x="35" y="281"/>
                  </a:lnTo>
                  <a:lnTo>
                    <a:pt x="27" y="303"/>
                  </a:lnTo>
                  <a:lnTo>
                    <a:pt x="20" y="324"/>
                  </a:lnTo>
                  <a:lnTo>
                    <a:pt x="14" y="345"/>
                  </a:lnTo>
                  <a:lnTo>
                    <a:pt x="9" y="368"/>
                  </a:lnTo>
                  <a:lnTo>
                    <a:pt x="5" y="390"/>
                  </a:lnTo>
                  <a:lnTo>
                    <a:pt x="2" y="413"/>
                  </a:lnTo>
                  <a:lnTo>
                    <a:pt x="0" y="437"/>
                  </a:lnTo>
                  <a:lnTo>
                    <a:pt x="0" y="460"/>
                  </a:lnTo>
                  <a:lnTo>
                    <a:pt x="0" y="5052"/>
                  </a:lnTo>
                  <a:lnTo>
                    <a:pt x="0" y="5076"/>
                  </a:lnTo>
                  <a:lnTo>
                    <a:pt x="2" y="5099"/>
                  </a:lnTo>
                  <a:lnTo>
                    <a:pt x="5" y="5122"/>
                  </a:lnTo>
                  <a:lnTo>
                    <a:pt x="9" y="5144"/>
                  </a:lnTo>
                  <a:lnTo>
                    <a:pt x="14" y="5167"/>
                  </a:lnTo>
                  <a:lnTo>
                    <a:pt x="20" y="5189"/>
                  </a:lnTo>
                  <a:lnTo>
                    <a:pt x="27" y="5210"/>
                  </a:lnTo>
                  <a:lnTo>
                    <a:pt x="35" y="5230"/>
                  </a:lnTo>
                  <a:lnTo>
                    <a:pt x="45" y="5251"/>
                  </a:lnTo>
                  <a:lnTo>
                    <a:pt x="55" y="5271"/>
                  </a:lnTo>
                  <a:lnTo>
                    <a:pt x="66" y="5290"/>
                  </a:lnTo>
                  <a:lnTo>
                    <a:pt x="78" y="5309"/>
                  </a:lnTo>
                  <a:lnTo>
                    <a:pt x="91" y="5327"/>
                  </a:lnTo>
                  <a:lnTo>
                    <a:pt x="104" y="5344"/>
                  </a:lnTo>
                  <a:lnTo>
                    <a:pt x="119" y="5360"/>
                  </a:lnTo>
                  <a:lnTo>
                    <a:pt x="135" y="5377"/>
                  </a:lnTo>
                  <a:lnTo>
                    <a:pt x="150" y="5392"/>
                  </a:lnTo>
                  <a:lnTo>
                    <a:pt x="167" y="5406"/>
                  </a:lnTo>
                  <a:lnTo>
                    <a:pt x="184" y="5420"/>
                  </a:lnTo>
                  <a:lnTo>
                    <a:pt x="203" y="5433"/>
                  </a:lnTo>
                  <a:lnTo>
                    <a:pt x="221" y="5445"/>
                  </a:lnTo>
                  <a:lnTo>
                    <a:pt x="240" y="5456"/>
                  </a:lnTo>
                  <a:lnTo>
                    <a:pt x="260" y="5466"/>
                  </a:lnTo>
                  <a:lnTo>
                    <a:pt x="281" y="5475"/>
                  </a:lnTo>
                  <a:lnTo>
                    <a:pt x="301" y="5484"/>
                  </a:lnTo>
                  <a:lnTo>
                    <a:pt x="322" y="5491"/>
                  </a:lnTo>
                  <a:lnTo>
                    <a:pt x="345" y="5497"/>
                  </a:lnTo>
                  <a:lnTo>
                    <a:pt x="366" y="5502"/>
                  </a:lnTo>
                  <a:lnTo>
                    <a:pt x="389" y="5506"/>
                  </a:lnTo>
                  <a:lnTo>
                    <a:pt x="412" y="5509"/>
                  </a:lnTo>
                  <a:lnTo>
                    <a:pt x="435" y="5511"/>
                  </a:lnTo>
                  <a:lnTo>
                    <a:pt x="458" y="5511"/>
                  </a:lnTo>
                  <a:lnTo>
                    <a:pt x="2479" y="5511"/>
                  </a:lnTo>
                  <a:lnTo>
                    <a:pt x="2502" y="5511"/>
                  </a:lnTo>
                  <a:lnTo>
                    <a:pt x="2525" y="5509"/>
                  </a:lnTo>
                  <a:lnTo>
                    <a:pt x="2549" y="5506"/>
                  </a:lnTo>
                  <a:lnTo>
                    <a:pt x="2571" y="5502"/>
                  </a:lnTo>
                  <a:lnTo>
                    <a:pt x="2593" y="5497"/>
                  </a:lnTo>
                  <a:lnTo>
                    <a:pt x="2615" y="5491"/>
                  </a:lnTo>
                  <a:lnTo>
                    <a:pt x="2636" y="5484"/>
                  </a:lnTo>
                  <a:lnTo>
                    <a:pt x="2657" y="5475"/>
                  </a:lnTo>
                  <a:lnTo>
                    <a:pt x="2677" y="5466"/>
                  </a:lnTo>
                  <a:lnTo>
                    <a:pt x="2698" y="5456"/>
                  </a:lnTo>
                  <a:lnTo>
                    <a:pt x="2716" y="5445"/>
                  </a:lnTo>
                  <a:lnTo>
                    <a:pt x="2735" y="5433"/>
                  </a:lnTo>
                  <a:lnTo>
                    <a:pt x="2754" y="5420"/>
                  </a:lnTo>
                  <a:lnTo>
                    <a:pt x="2771" y="5406"/>
                  </a:lnTo>
                  <a:lnTo>
                    <a:pt x="2787" y="5392"/>
                  </a:lnTo>
                  <a:lnTo>
                    <a:pt x="2803" y="5377"/>
                  </a:lnTo>
                  <a:lnTo>
                    <a:pt x="2818" y="5360"/>
                  </a:lnTo>
                  <a:lnTo>
                    <a:pt x="2833" y="5344"/>
                  </a:lnTo>
                  <a:lnTo>
                    <a:pt x="2847" y="5327"/>
                  </a:lnTo>
                  <a:lnTo>
                    <a:pt x="2859" y="5309"/>
                  </a:lnTo>
                  <a:lnTo>
                    <a:pt x="2871" y="5290"/>
                  </a:lnTo>
                  <a:lnTo>
                    <a:pt x="2882" y="5271"/>
                  </a:lnTo>
                  <a:lnTo>
                    <a:pt x="2892" y="5251"/>
                  </a:lnTo>
                  <a:lnTo>
                    <a:pt x="2902" y="5230"/>
                  </a:lnTo>
                  <a:lnTo>
                    <a:pt x="2910" y="5210"/>
                  </a:lnTo>
                  <a:lnTo>
                    <a:pt x="2918" y="5189"/>
                  </a:lnTo>
                  <a:lnTo>
                    <a:pt x="2924" y="5167"/>
                  </a:lnTo>
                  <a:lnTo>
                    <a:pt x="2929" y="5144"/>
                  </a:lnTo>
                  <a:lnTo>
                    <a:pt x="2933" y="5122"/>
                  </a:lnTo>
                  <a:lnTo>
                    <a:pt x="2936" y="5099"/>
                  </a:lnTo>
                  <a:lnTo>
                    <a:pt x="2937" y="5076"/>
                  </a:lnTo>
                  <a:lnTo>
                    <a:pt x="2938" y="5052"/>
                  </a:lnTo>
                  <a:lnTo>
                    <a:pt x="2938" y="460"/>
                  </a:lnTo>
                  <a:lnTo>
                    <a:pt x="2937" y="437"/>
                  </a:lnTo>
                  <a:lnTo>
                    <a:pt x="2936" y="413"/>
                  </a:lnTo>
                  <a:lnTo>
                    <a:pt x="2933" y="390"/>
                  </a:lnTo>
                  <a:lnTo>
                    <a:pt x="2929" y="368"/>
                  </a:lnTo>
                  <a:lnTo>
                    <a:pt x="2924" y="345"/>
                  </a:lnTo>
                  <a:lnTo>
                    <a:pt x="2918" y="324"/>
                  </a:lnTo>
                  <a:lnTo>
                    <a:pt x="2910" y="303"/>
                  </a:lnTo>
                  <a:lnTo>
                    <a:pt x="2902" y="281"/>
                  </a:lnTo>
                  <a:lnTo>
                    <a:pt x="2892" y="261"/>
                  </a:lnTo>
                  <a:lnTo>
                    <a:pt x="2882" y="242"/>
                  </a:lnTo>
                  <a:lnTo>
                    <a:pt x="2871" y="223"/>
                  </a:lnTo>
                  <a:lnTo>
                    <a:pt x="2859" y="203"/>
                  </a:lnTo>
                  <a:lnTo>
                    <a:pt x="2847" y="186"/>
                  </a:lnTo>
                  <a:lnTo>
                    <a:pt x="2833" y="169"/>
                  </a:lnTo>
                  <a:lnTo>
                    <a:pt x="2818" y="152"/>
                  </a:lnTo>
                  <a:lnTo>
                    <a:pt x="2803" y="135"/>
                  </a:lnTo>
                  <a:lnTo>
                    <a:pt x="2787" y="120"/>
                  </a:lnTo>
                  <a:lnTo>
                    <a:pt x="2771" y="106"/>
                  </a:lnTo>
                  <a:lnTo>
                    <a:pt x="2754" y="93"/>
                  </a:lnTo>
                  <a:lnTo>
                    <a:pt x="2735" y="80"/>
                  </a:lnTo>
                  <a:lnTo>
                    <a:pt x="2716" y="67"/>
                  </a:lnTo>
                  <a:lnTo>
                    <a:pt x="2698" y="56"/>
                  </a:lnTo>
                  <a:lnTo>
                    <a:pt x="2677" y="46"/>
                  </a:lnTo>
                  <a:lnTo>
                    <a:pt x="2657" y="37"/>
                  </a:lnTo>
                  <a:lnTo>
                    <a:pt x="2636" y="29"/>
                  </a:lnTo>
                  <a:lnTo>
                    <a:pt x="2615" y="22"/>
                  </a:lnTo>
                  <a:lnTo>
                    <a:pt x="2593" y="16"/>
                  </a:lnTo>
                  <a:lnTo>
                    <a:pt x="2571" y="11"/>
                  </a:lnTo>
                  <a:lnTo>
                    <a:pt x="2549" y="7"/>
                  </a:lnTo>
                  <a:lnTo>
                    <a:pt x="2525" y="3"/>
                  </a:lnTo>
                  <a:lnTo>
                    <a:pt x="2502" y="1"/>
                  </a:lnTo>
                  <a:lnTo>
                    <a:pt x="2479" y="0"/>
                  </a:lnTo>
                  <a:close/>
                  <a:moveTo>
                    <a:pt x="1194" y="369"/>
                  </a:moveTo>
                  <a:lnTo>
                    <a:pt x="1744" y="369"/>
                  </a:lnTo>
                  <a:lnTo>
                    <a:pt x="1753" y="369"/>
                  </a:lnTo>
                  <a:lnTo>
                    <a:pt x="1763" y="370"/>
                  </a:lnTo>
                  <a:lnTo>
                    <a:pt x="1772" y="373"/>
                  </a:lnTo>
                  <a:lnTo>
                    <a:pt x="1780" y="376"/>
                  </a:lnTo>
                  <a:lnTo>
                    <a:pt x="1788" y="379"/>
                  </a:lnTo>
                  <a:lnTo>
                    <a:pt x="1796" y="384"/>
                  </a:lnTo>
                  <a:lnTo>
                    <a:pt x="1803" y="389"/>
                  </a:lnTo>
                  <a:lnTo>
                    <a:pt x="1809" y="395"/>
                  </a:lnTo>
                  <a:lnTo>
                    <a:pt x="1815" y="401"/>
                  </a:lnTo>
                  <a:lnTo>
                    <a:pt x="1820" y="408"/>
                  </a:lnTo>
                  <a:lnTo>
                    <a:pt x="1825" y="416"/>
                  </a:lnTo>
                  <a:lnTo>
                    <a:pt x="1828" y="424"/>
                  </a:lnTo>
                  <a:lnTo>
                    <a:pt x="1833" y="433"/>
                  </a:lnTo>
                  <a:lnTo>
                    <a:pt x="1835" y="442"/>
                  </a:lnTo>
                  <a:lnTo>
                    <a:pt x="1836" y="451"/>
                  </a:lnTo>
                  <a:lnTo>
                    <a:pt x="1837" y="460"/>
                  </a:lnTo>
                  <a:lnTo>
                    <a:pt x="1836" y="469"/>
                  </a:lnTo>
                  <a:lnTo>
                    <a:pt x="1835" y="478"/>
                  </a:lnTo>
                  <a:lnTo>
                    <a:pt x="1833" y="487"/>
                  </a:lnTo>
                  <a:lnTo>
                    <a:pt x="1828" y="495"/>
                  </a:lnTo>
                  <a:lnTo>
                    <a:pt x="1825" y="504"/>
                  </a:lnTo>
                  <a:lnTo>
                    <a:pt x="1820" y="512"/>
                  </a:lnTo>
                  <a:lnTo>
                    <a:pt x="1815" y="519"/>
                  </a:lnTo>
                  <a:lnTo>
                    <a:pt x="1809" y="525"/>
                  </a:lnTo>
                  <a:lnTo>
                    <a:pt x="1803" y="531"/>
                  </a:lnTo>
                  <a:lnTo>
                    <a:pt x="1796" y="536"/>
                  </a:lnTo>
                  <a:lnTo>
                    <a:pt x="1788" y="541"/>
                  </a:lnTo>
                  <a:lnTo>
                    <a:pt x="1780" y="545"/>
                  </a:lnTo>
                  <a:lnTo>
                    <a:pt x="1772" y="548"/>
                  </a:lnTo>
                  <a:lnTo>
                    <a:pt x="1763" y="550"/>
                  </a:lnTo>
                  <a:lnTo>
                    <a:pt x="1753" y="551"/>
                  </a:lnTo>
                  <a:lnTo>
                    <a:pt x="1744" y="552"/>
                  </a:lnTo>
                  <a:lnTo>
                    <a:pt x="1194" y="552"/>
                  </a:lnTo>
                  <a:lnTo>
                    <a:pt x="1184" y="551"/>
                  </a:lnTo>
                  <a:lnTo>
                    <a:pt x="1175" y="550"/>
                  </a:lnTo>
                  <a:lnTo>
                    <a:pt x="1166" y="548"/>
                  </a:lnTo>
                  <a:lnTo>
                    <a:pt x="1158" y="545"/>
                  </a:lnTo>
                  <a:lnTo>
                    <a:pt x="1150" y="541"/>
                  </a:lnTo>
                  <a:lnTo>
                    <a:pt x="1142" y="536"/>
                  </a:lnTo>
                  <a:lnTo>
                    <a:pt x="1135" y="531"/>
                  </a:lnTo>
                  <a:lnTo>
                    <a:pt x="1129" y="525"/>
                  </a:lnTo>
                  <a:lnTo>
                    <a:pt x="1123" y="519"/>
                  </a:lnTo>
                  <a:lnTo>
                    <a:pt x="1117" y="512"/>
                  </a:lnTo>
                  <a:lnTo>
                    <a:pt x="1112" y="504"/>
                  </a:lnTo>
                  <a:lnTo>
                    <a:pt x="1108" y="495"/>
                  </a:lnTo>
                  <a:lnTo>
                    <a:pt x="1105" y="487"/>
                  </a:lnTo>
                  <a:lnTo>
                    <a:pt x="1103" y="478"/>
                  </a:lnTo>
                  <a:lnTo>
                    <a:pt x="1102" y="469"/>
                  </a:lnTo>
                  <a:lnTo>
                    <a:pt x="1101" y="460"/>
                  </a:lnTo>
                  <a:lnTo>
                    <a:pt x="1102" y="451"/>
                  </a:lnTo>
                  <a:lnTo>
                    <a:pt x="1103" y="442"/>
                  </a:lnTo>
                  <a:lnTo>
                    <a:pt x="1105" y="433"/>
                  </a:lnTo>
                  <a:lnTo>
                    <a:pt x="1108" y="424"/>
                  </a:lnTo>
                  <a:lnTo>
                    <a:pt x="1112" y="416"/>
                  </a:lnTo>
                  <a:lnTo>
                    <a:pt x="1117" y="408"/>
                  </a:lnTo>
                  <a:lnTo>
                    <a:pt x="1123" y="401"/>
                  </a:lnTo>
                  <a:lnTo>
                    <a:pt x="1129" y="395"/>
                  </a:lnTo>
                  <a:lnTo>
                    <a:pt x="1135" y="389"/>
                  </a:lnTo>
                  <a:lnTo>
                    <a:pt x="1142" y="384"/>
                  </a:lnTo>
                  <a:lnTo>
                    <a:pt x="1150" y="379"/>
                  </a:lnTo>
                  <a:lnTo>
                    <a:pt x="1158" y="376"/>
                  </a:lnTo>
                  <a:lnTo>
                    <a:pt x="1166" y="373"/>
                  </a:lnTo>
                  <a:lnTo>
                    <a:pt x="1175" y="370"/>
                  </a:lnTo>
                  <a:lnTo>
                    <a:pt x="1184" y="369"/>
                  </a:lnTo>
                  <a:lnTo>
                    <a:pt x="1194" y="369"/>
                  </a:lnTo>
                  <a:close/>
                  <a:moveTo>
                    <a:pt x="1468" y="5328"/>
                  </a:moveTo>
                  <a:lnTo>
                    <a:pt x="1468" y="5328"/>
                  </a:lnTo>
                  <a:lnTo>
                    <a:pt x="1454" y="5328"/>
                  </a:lnTo>
                  <a:lnTo>
                    <a:pt x="1441" y="5327"/>
                  </a:lnTo>
                  <a:lnTo>
                    <a:pt x="1427" y="5325"/>
                  </a:lnTo>
                  <a:lnTo>
                    <a:pt x="1414" y="5322"/>
                  </a:lnTo>
                  <a:lnTo>
                    <a:pt x="1399" y="5319"/>
                  </a:lnTo>
                  <a:lnTo>
                    <a:pt x="1387" y="5316"/>
                  </a:lnTo>
                  <a:lnTo>
                    <a:pt x="1374" y="5312"/>
                  </a:lnTo>
                  <a:lnTo>
                    <a:pt x="1362" y="5307"/>
                  </a:lnTo>
                  <a:lnTo>
                    <a:pt x="1350" y="5300"/>
                  </a:lnTo>
                  <a:lnTo>
                    <a:pt x="1338" y="5294"/>
                  </a:lnTo>
                  <a:lnTo>
                    <a:pt x="1325" y="5288"/>
                  </a:lnTo>
                  <a:lnTo>
                    <a:pt x="1314" y="5281"/>
                  </a:lnTo>
                  <a:lnTo>
                    <a:pt x="1304" y="5273"/>
                  </a:lnTo>
                  <a:lnTo>
                    <a:pt x="1294" y="5265"/>
                  </a:lnTo>
                  <a:lnTo>
                    <a:pt x="1284" y="5257"/>
                  </a:lnTo>
                  <a:lnTo>
                    <a:pt x="1274" y="5248"/>
                  </a:lnTo>
                  <a:lnTo>
                    <a:pt x="1265" y="5238"/>
                  </a:lnTo>
                  <a:lnTo>
                    <a:pt x="1256" y="5227"/>
                  </a:lnTo>
                  <a:lnTo>
                    <a:pt x="1248" y="5217"/>
                  </a:lnTo>
                  <a:lnTo>
                    <a:pt x="1240" y="5206"/>
                  </a:lnTo>
                  <a:lnTo>
                    <a:pt x="1233" y="5195"/>
                  </a:lnTo>
                  <a:lnTo>
                    <a:pt x="1227" y="5184"/>
                  </a:lnTo>
                  <a:lnTo>
                    <a:pt x="1221" y="5172"/>
                  </a:lnTo>
                  <a:lnTo>
                    <a:pt x="1215" y="5159"/>
                  </a:lnTo>
                  <a:lnTo>
                    <a:pt x="1210" y="5147"/>
                  </a:lnTo>
                  <a:lnTo>
                    <a:pt x="1206" y="5134"/>
                  </a:lnTo>
                  <a:lnTo>
                    <a:pt x="1202" y="5121"/>
                  </a:lnTo>
                  <a:lnTo>
                    <a:pt x="1199" y="5108"/>
                  </a:lnTo>
                  <a:lnTo>
                    <a:pt x="1197" y="5095"/>
                  </a:lnTo>
                  <a:lnTo>
                    <a:pt x="1195" y="5080"/>
                  </a:lnTo>
                  <a:lnTo>
                    <a:pt x="1194" y="5066"/>
                  </a:lnTo>
                  <a:lnTo>
                    <a:pt x="1194" y="5052"/>
                  </a:lnTo>
                  <a:lnTo>
                    <a:pt x="1194" y="5038"/>
                  </a:lnTo>
                  <a:lnTo>
                    <a:pt x="1195" y="5025"/>
                  </a:lnTo>
                  <a:lnTo>
                    <a:pt x="1197" y="5010"/>
                  </a:lnTo>
                  <a:lnTo>
                    <a:pt x="1199" y="4997"/>
                  </a:lnTo>
                  <a:lnTo>
                    <a:pt x="1202" y="4983"/>
                  </a:lnTo>
                  <a:lnTo>
                    <a:pt x="1206" y="4970"/>
                  </a:lnTo>
                  <a:lnTo>
                    <a:pt x="1210" y="4958"/>
                  </a:lnTo>
                  <a:lnTo>
                    <a:pt x="1215" y="4945"/>
                  </a:lnTo>
                  <a:lnTo>
                    <a:pt x="1221" y="4932"/>
                  </a:lnTo>
                  <a:lnTo>
                    <a:pt x="1227" y="4921"/>
                  </a:lnTo>
                  <a:lnTo>
                    <a:pt x="1233" y="4909"/>
                  </a:lnTo>
                  <a:lnTo>
                    <a:pt x="1240" y="4898"/>
                  </a:lnTo>
                  <a:lnTo>
                    <a:pt x="1248" y="4888"/>
                  </a:lnTo>
                  <a:lnTo>
                    <a:pt x="1256" y="4876"/>
                  </a:lnTo>
                  <a:lnTo>
                    <a:pt x="1265" y="4867"/>
                  </a:lnTo>
                  <a:lnTo>
                    <a:pt x="1274" y="4857"/>
                  </a:lnTo>
                  <a:lnTo>
                    <a:pt x="1284" y="4848"/>
                  </a:lnTo>
                  <a:lnTo>
                    <a:pt x="1294" y="4840"/>
                  </a:lnTo>
                  <a:lnTo>
                    <a:pt x="1304" y="4832"/>
                  </a:lnTo>
                  <a:lnTo>
                    <a:pt x="1314" y="4824"/>
                  </a:lnTo>
                  <a:lnTo>
                    <a:pt x="1325" y="4817"/>
                  </a:lnTo>
                  <a:lnTo>
                    <a:pt x="1338" y="4810"/>
                  </a:lnTo>
                  <a:lnTo>
                    <a:pt x="1350" y="4803"/>
                  </a:lnTo>
                  <a:lnTo>
                    <a:pt x="1362" y="4798"/>
                  </a:lnTo>
                  <a:lnTo>
                    <a:pt x="1374" y="4793"/>
                  </a:lnTo>
                  <a:lnTo>
                    <a:pt x="1387" y="4789"/>
                  </a:lnTo>
                  <a:lnTo>
                    <a:pt x="1399" y="4785"/>
                  </a:lnTo>
                  <a:lnTo>
                    <a:pt x="1414" y="4782"/>
                  </a:lnTo>
                  <a:lnTo>
                    <a:pt x="1427" y="4780"/>
                  </a:lnTo>
                  <a:lnTo>
                    <a:pt x="1441" y="4778"/>
                  </a:lnTo>
                  <a:lnTo>
                    <a:pt x="1454" y="4777"/>
                  </a:lnTo>
                  <a:lnTo>
                    <a:pt x="1468" y="4777"/>
                  </a:lnTo>
                  <a:lnTo>
                    <a:pt x="1483" y="4777"/>
                  </a:lnTo>
                  <a:lnTo>
                    <a:pt x="1497" y="4778"/>
                  </a:lnTo>
                  <a:lnTo>
                    <a:pt x="1511" y="4780"/>
                  </a:lnTo>
                  <a:lnTo>
                    <a:pt x="1524" y="4782"/>
                  </a:lnTo>
                  <a:lnTo>
                    <a:pt x="1537" y="4785"/>
                  </a:lnTo>
                  <a:lnTo>
                    <a:pt x="1551" y="4789"/>
                  </a:lnTo>
                  <a:lnTo>
                    <a:pt x="1564" y="4793"/>
                  </a:lnTo>
                  <a:lnTo>
                    <a:pt x="1576" y="4798"/>
                  </a:lnTo>
                  <a:lnTo>
                    <a:pt x="1588" y="4803"/>
                  </a:lnTo>
                  <a:lnTo>
                    <a:pt x="1600" y="4810"/>
                  </a:lnTo>
                  <a:lnTo>
                    <a:pt x="1611" y="4817"/>
                  </a:lnTo>
                  <a:lnTo>
                    <a:pt x="1623" y="4824"/>
                  </a:lnTo>
                  <a:lnTo>
                    <a:pt x="1634" y="4832"/>
                  </a:lnTo>
                  <a:lnTo>
                    <a:pt x="1644" y="4840"/>
                  </a:lnTo>
                  <a:lnTo>
                    <a:pt x="1654" y="4848"/>
                  </a:lnTo>
                  <a:lnTo>
                    <a:pt x="1664" y="4857"/>
                  </a:lnTo>
                  <a:lnTo>
                    <a:pt x="1673" y="4867"/>
                  </a:lnTo>
                  <a:lnTo>
                    <a:pt x="1681" y="4876"/>
                  </a:lnTo>
                  <a:lnTo>
                    <a:pt x="1690" y="4888"/>
                  </a:lnTo>
                  <a:lnTo>
                    <a:pt x="1698" y="4898"/>
                  </a:lnTo>
                  <a:lnTo>
                    <a:pt x="1705" y="4909"/>
                  </a:lnTo>
                  <a:lnTo>
                    <a:pt x="1711" y="4921"/>
                  </a:lnTo>
                  <a:lnTo>
                    <a:pt x="1717" y="4932"/>
                  </a:lnTo>
                  <a:lnTo>
                    <a:pt x="1723" y="4945"/>
                  </a:lnTo>
                  <a:lnTo>
                    <a:pt x="1728" y="4958"/>
                  </a:lnTo>
                  <a:lnTo>
                    <a:pt x="1732" y="4970"/>
                  </a:lnTo>
                  <a:lnTo>
                    <a:pt x="1736" y="4983"/>
                  </a:lnTo>
                  <a:lnTo>
                    <a:pt x="1739" y="4997"/>
                  </a:lnTo>
                  <a:lnTo>
                    <a:pt x="1741" y="5010"/>
                  </a:lnTo>
                  <a:lnTo>
                    <a:pt x="1743" y="5025"/>
                  </a:lnTo>
                  <a:lnTo>
                    <a:pt x="1744" y="5038"/>
                  </a:lnTo>
                  <a:lnTo>
                    <a:pt x="1744" y="5052"/>
                  </a:lnTo>
                  <a:lnTo>
                    <a:pt x="1744" y="5066"/>
                  </a:lnTo>
                  <a:lnTo>
                    <a:pt x="1743" y="5080"/>
                  </a:lnTo>
                  <a:lnTo>
                    <a:pt x="1741" y="5095"/>
                  </a:lnTo>
                  <a:lnTo>
                    <a:pt x="1739" y="5108"/>
                  </a:lnTo>
                  <a:lnTo>
                    <a:pt x="1736" y="5121"/>
                  </a:lnTo>
                  <a:lnTo>
                    <a:pt x="1732" y="5134"/>
                  </a:lnTo>
                  <a:lnTo>
                    <a:pt x="1728" y="5147"/>
                  </a:lnTo>
                  <a:lnTo>
                    <a:pt x="1723" y="5159"/>
                  </a:lnTo>
                  <a:lnTo>
                    <a:pt x="1717" y="5172"/>
                  </a:lnTo>
                  <a:lnTo>
                    <a:pt x="1711" y="5184"/>
                  </a:lnTo>
                  <a:lnTo>
                    <a:pt x="1705" y="5195"/>
                  </a:lnTo>
                  <a:lnTo>
                    <a:pt x="1698" y="5206"/>
                  </a:lnTo>
                  <a:lnTo>
                    <a:pt x="1690" y="5217"/>
                  </a:lnTo>
                  <a:lnTo>
                    <a:pt x="1681" y="5227"/>
                  </a:lnTo>
                  <a:lnTo>
                    <a:pt x="1673" y="5238"/>
                  </a:lnTo>
                  <a:lnTo>
                    <a:pt x="1664" y="5248"/>
                  </a:lnTo>
                  <a:lnTo>
                    <a:pt x="1654" y="5257"/>
                  </a:lnTo>
                  <a:lnTo>
                    <a:pt x="1644" y="5265"/>
                  </a:lnTo>
                  <a:lnTo>
                    <a:pt x="1634" y="5273"/>
                  </a:lnTo>
                  <a:lnTo>
                    <a:pt x="1623" y="5281"/>
                  </a:lnTo>
                  <a:lnTo>
                    <a:pt x="1611" y="5288"/>
                  </a:lnTo>
                  <a:lnTo>
                    <a:pt x="1600" y="5294"/>
                  </a:lnTo>
                  <a:lnTo>
                    <a:pt x="1588" y="5300"/>
                  </a:lnTo>
                  <a:lnTo>
                    <a:pt x="1576" y="5307"/>
                  </a:lnTo>
                  <a:lnTo>
                    <a:pt x="1564" y="5312"/>
                  </a:lnTo>
                  <a:lnTo>
                    <a:pt x="1551" y="5316"/>
                  </a:lnTo>
                  <a:lnTo>
                    <a:pt x="1537" y="5319"/>
                  </a:lnTo>
                  <a:lnTo>
                    <a:pt x="1524" y="5322"/>
                  </a:lnTo>
                  <a:lnTo>
                    <a:pt x="1511" y="5325"/>
                  </a:lnTo>
                  <a:lnTo>
                    <a:pt x="1497" y="5327"/>
                  </a:lnTo>
                  <a:lnTo>
                    <a:pt x="1483" y="5328"/>
                  </a:lnTo>
                  <a:lnTo>
                    <a:pt x="1468" y="5328"/>
                  </a:lnTo>
                  <a:close/>
                  <a:moveTo>
                    <a:pt x="2755" y="4593"/>
                  </a:moveTo>
                  <a:lnTo>
                    <a:pt x="183" y="4593"/>
                  </a:lnTo>
                  <a:lnTo>
                    <a:pt x="183" y="919"/>
                  </a:lnTo>
                  <a:lnTo>
                    <a:pt x="2755" y="919"/>
                  </a:lnTo>
                  <a:lnTo>
                    <a:pt x="2755" y="4593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 sz="1300">
                <a:solidFill>
                  <a:schemeClr val="bg2">
                    <a:lumMod val="60000"/>
                    <a:lumOff val="40000"/>
                  </a:schemeClr>
                </a:solidFill>
                <a:ea typeface="+mj-ea"/>
              </a:endParaRPr>
            </a:p>
          </p:txBody>
        </p:sp>
        <p:grpSp>
          <p:nvGrpSpPr>
            <p:cNvPr id="196" name="组合 195"/>
            <p:cNvGrpSpPr/>
            <p:nvPr/>
          </p:nvGrpSpPr>
          <p:grpSpPr>
            <a:xfrm>
              <a:off x="2365355" y="4228215"/>
              <a:ext cx="323210" cy="489799"/>
              <a:chOff x="1722386" y="1708703"/>
              <a:chExt cx="212244" cy="321639"/>
            </a:xfrm>
          </p:grpSpPr>
          <p:sp>
            <p:nvSpPr>
              <p:cNvPr id="206" name="同侧圆角矩形 205"/>
              <p:cNvSpPr/>
              <p:nvPr/>
            </p:nvSpPr>
            <p:spPr>
              <a:xfrm>
                <a:off x="1774621" y="1708703"/>
                <a:ext cx="108000" cy="90000"/>
              </a:xfrm>
              <a:prstGeom prst="round2SameRect">
                <a:avLst>
                  <a:gd name="adj1" fmla="val 35717"/>
                  <a:gd name="adj2" fmla="val 0"/>
                </a:avLst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2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ea typeface="宋体"/>
                  <a:cs typeface="+mn-cs"/>
                </a:endParaRPr>
              </a:p>
            </p:txBody>
          </p:sp>
          <p:sp>
            <p:nvSpPr>
              <p:cNvPr id="207" name="任意多边形 206"/>
              <p:cNvSpPr/>
              <p:nvPr/>
            </p:nvSpPr>
            <p:spPr>
              <a:xfrm>
                <a:off x="1722386" y="1813562"/>
                <a:ext cx="212244" cy="143184"/>
              </a:xfrm>
              <a:custGeom>
                <a:avLst/>
                <a:gdLst>
                  <a:gd name="connsiteX0" fmla="*/ 0 w 175260"/>
                  <a:gd name="connsiteY0" fmla="*/ 5715 h 142875"/>
                  <a:gd name="connsiteX1" fmla="*/ 89535 w 175260"/>
                  <a:gd name="connsiteY1" fmla="*/ 142875 h 142875"/>
                  <a:gd name="connsiteX2" fmla="*/ 175260 w 175260"/>
                  <a:gd name="connsiteY2" fmla="*/ 0 h 142875"/>
                  <a:gd name="connsiteX0" fmla="*/ 0 w 175260"/>
                  <a:gd name="connsiteY0" fmla="*/ 5715 h 142875"/>
                  <a:gd name="connsiteX1" fmla="*/ 89535 w 175260"/>
                  <a:gd name="connsiteY1" fmla="*/ 142875 h 142875"/>
                  <a:gd name="connsiteX2" fmla="*/ 175260 w 175260"/>
                  <a:gd name="connsiteY2" fmla="*/ 0 h 142875"/>
                  <a:gd name="connsiteX0" fmla="*/ 0 w 175260"/>
                  <a:gd name="connsiteY0" fmla="*/ 5715 h 142875"/>
                  <a:gd name="connsiteX1" fmla="*/ 89535 w 175260"/>
                  <a:gd name="connsiteY1" fmla="*/ 142875 h 142875"/>
                  <a:gd name="connsiteX2" fmla="*/ 175260 w 175260"/>
                  <a:gd name="connsiteY2" fmla="*/ 0 h 142875"/>
                  <a:gd name="connsiteX0" fmla="*/ 0 w 175260"/>
                  <a:gd name="connsiteY0" fmla="*/ 5715 h 142875"/>
                  <a:gd name="connsiteX1" fmla="*/ 89535 w 175260"/>
                  <a:gd name="connsiteY1" fmla="*/ 142875 h 142875"/>
                  <a:gd name="connsiteX2" fmla="*/ 175260 w 175260"/>
                  <a:gd name="connsiteY2" fmla="*/ 0 h 142875"/>
                  <a:gd name="connsiteX0" fmla="*/ 0 w 175260"/>
                  <a:gd name="connsiteY0" fmla="*/ 5715 h 142875"/>
                  <a:gd name="connsiteX1" fmla="*/ 89535 w 175260"/>
                  <a:gd name="connsiteY1" fmla="*/ 142875 h 142875"/>
                  <a:gd name="connsiteX2" fmla="*/ 175260 w 175260"/>
                  <a:gd name="connsiteY2" fmla="*/ 0 h 142875"/>
                  <a:gd name="connsiteX0" fmla="*/ 599 w 175859"/>
                  <a:gd name="connsiteY0" fmla="*/ 5715 h 142875"/>
                  <a:gd name="connsiteX1" fmla="*/ 90134 w 175859"/>
                  <a:gd name="connsiteY1" fmla="*/ 142875 h 142875"/>
                  <a:gd name="connsiteX2" fmla="*/ 175859 w 175859"/>
                  <a:gd name="connsiteY2" fmla="*/ 0 h 142875"/>
                  <a:gd name="connsiteX0" fmla="*/ 923 w 176183"/>
                  <a:gd name="connsiteY0" fmla="*/ 5715 h 142934"/>
                  <a:gd name="connsiteX1" fmla="*/ 90458 w 176183"/>
                  <a:gd name="connsiteY1" fmla="*/ 142875 h 142934"/>
                  <a:gd name="connsiteX2" fmla="*/ 176183 w 176183"/>
                  <a:gd name="connsiteY2" fmla="*/ 0 h 142934"/>
                  <a:gd name="connsiteX0" fmla="*/ 923 w 182394"/>
                  <a:gd name="connsiteY0" fmla="*/ 5715 h 142934"/>
                  <a:gd name="connsiteX1" fmla="*/ 90458 w 182394"/>
                  <a:gd name="connsiteY1" fmla="*/ 142875 h 142934"/>
                  <a:gd name="connsiteX2" fmla="*/ 176183 w 182394"/>
                  <a:gd name="connsiteY2" fmla="*/ 0 h 142934"/>
                  <a:gd name="connsiteX0" fmla="*/ 923 w 179742"/>
                  <a:gd name="connsiteY0" fmla="*/ 5715 h 143184"/>
                  <a:gd name="connsiteX1" fmla="*/ 90458 w 179742"/>
                  <a:gd name="connsiteY1" fmla="*/ 142875 h 143184"/>
                  <a:gd name="connsiteX2" fmla="*/ 176183 w 179742"/>
                  <a:gd name="connsiteY2" fmla="*/ 0 h 143184"/>
                  <a:gd name="connsiteX0" fmla="*/ 923 w 176742"/>
                  <a:gd name="connsiteY0" fmla="*/ 5715 h 143184"/>
                  <a:gd name="connsiteX1" fmla="*/ 90458 w 176742"/>
                  <a:gd name="connsiteY1" fmla="*/ 142875 h 143184"/>
                  <a:gd name="connsiteX2" fmla="*/ 176183 w 176742"/>
                  <a:gd name="connsiteY2" fmla="*/ 0 h 143184"/>
                  <a:gd name="connsiteX0" fmla="*/ 923 w 176370"/>
                  <a:gd name="connsiteY0" fmla="*/ 5715 h 142934"/>
                  <a:gd name="connsiteX1" fmla="*/ 90458 w 176370"/>
                  <a:gd name="connsiteY1" fmla="*/ 142875 h 142934"/>
                  <a:gd name="connsiteX2" fmla="*/ 176183 w 176370"/>
                  <a:gd name="connsiteY2" fmla="*/ 0 h 142934"/>
                  <a:gd name="connsiteX0" fmla="*/ 923 w 176518"/>
                  <a:gd name="connsiteY0" fmla="*/ 5715 h 143019"/>
                  <a:gd name="connsiteX1" fmla="*/ 90458 w 176518"/>
                  <a:gd name="connsiteY1" fmla="*/ 142875 h 143019"/>
                  <a:gd name="connsiteX2" fmla="*/ 176183 w 176518"/>
                  <a:gd name="connsiteY2" fmla="*/ 0 h 143019"/>
                  <a:gd name="connsiteX0" fmla="*/ 923 w 176294"/>
                  <a:gd name="connsiteY0" fmla="*/ 5715 h 143019"/>
                  <a:gd name="connsiteX1" fmla="*/ 90458 w 176294"/>
                  <a:gd name="connsiteY1" fmla="*/ 142875 h 143019"/>
                  <a:gd name="connsiteX2" fmla="*/ 176183 w 176294"/>
                  <a:gd name="connsiteY2" fmla="*/ 0 h 143019"/>
                  <a:gd name="connsiteX0" fmla="*/ 923 w 177278"/>
                  <a:gd name="connsiteY0" fmla="*/ 5715 h 143402"/>
                  <a:gd name="connsiteX1" fmla="*/ 90458 w 177278"/>
                  <a:gd name="connsiteY1" fmla="*/ 142875 h 143402"/>
                  <a:gd name="connsiteX2" fmla="*/ 176183 w 177278"/>
                  <a:gd name="connsiteY2" fmla="*/ 0 h 143402"/>
                  <a:gd name="connsiteX0" fmla="*/ 923 w 176428"/>
                  <a:gd name="connsiteY0" fmla="*/ 5715 h 143184"/>
                  <a:gd name="connsiteX1" fmla="*/ 90458 w 176428"/>
                  <a:gd name="connsiteY1" fmla="*/ 142875 h 143184"/>
                  <a:gd name="connsiteX2" fmla="*/ 176183 w 176428"/>
                  <a:gd name="connsiteY2" fmla="*/ 0 h 143184"/>
                  <a:gd name="connsiteX0" fmla="*/ 1111 w 176616"/>
                  <a:gd name="connsiteY0" fmla="*/ 5715 h 143184"/>
                  <a:gd name="connsiteX1" fmla="*/ 90646 w 176616"/>
                  <a:gd name="connsiteY1" fmla="*/ 142875 h 143184"/>
                  <a:gd name="connsiteX2" fmla="*/ 176371 w 176616"/>
                  <a:gd name="connsiteY2" fmla="*/ 0 h 143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6616" h="143184">
                    <a:moveTo>
                      <a:pt x="1111" y="5715"/>
                    </a:moveTo>
                    <a:cubicBezTo>
                      <a:pt x="-5239" y="100965"/>
                      <a:pt x="14455" y="146685"/>
                      <a:pt x="90646" y="142875"/>
                    </a:cubicBezTo>
                    <a:cubicBezTo>
                      <a:pt x="174159" y="148590"/>
                      <a:pt x="177969" y="74295"/>
                      <a:pt x="176371" y="0"/>
                    </a:cubicBezTo>
                  </a:path>
                </a:pathLst>
              </a:cu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208" name="同侧圆角矩形 207"/>
              <p:cNvSpPr/>
              <p:nvPr/>
            </p:nvSpPr>
            <p:spPr>
              <a:xfrm flipV="1">
                <a:off x="1774621" y="1818535"/>
                <a:ext cx="108000" cy="90000"/>
              </a:xfrm>
              <a:prstGeom prst="round2SameRect">
                <a:avLst>
                  <a:gd name="adj1" fmla="val 35717"/>
                  <a:gd name="adj2" fmla="val 0"/>
                </a:avLst>
              </a:prstGeom>
              <a:solidFill>
                <a:schemeClr val="bg1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2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ea typeface="宋体"/>
                  <a:cs typeface="+mn-cs"/>
                </a:endParaRPr>
              </a:p>
            </p:txBody>
          </p:sp>
          <p:cxnSp>
            <p:nvCxnSpPr>
              <p:cNvPr id="209" name="直接连接符 208"/>
              <p:cNvCxnSpPr/>
              <p:nvPr/>
            </p:nvCxnSpPr>
            <p:spPr>
              <a:xfrm flipH="1">
                <a:off x="1828621" y="1958342"/>
                <a:ext cx="0" cy="72000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直接连接符 209"/>
              <p:cNvCxnSpPr/>
              <p:nvPr/>
            </p:nvCxnSpPr>
            <p:spPr>
              <a:xfrm rot="5400000" flipH="1">
                <a:off x="1828621" y="1976342"/>
                <a:ext cx="0" cy="108000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7" name="组合 196"/>
            <p:cNvGrpSpPr/>
            <p:nvPr/>
          </p:nvGrpSpPr>
          <p:grpSpPr>
            <a:xfrm>
              <a:off x="3084502" y="4235854"/>
              <a:ext cx="517588" cy="474520"/>
              <a:chOff x="3254682" y="3816913"/>
              <a:chExt cx="432769" cy="396758"/>
            </a:xfrm>
          </p:grpSpPr>
          <p:grpSp>
            <p:nvGrpSpPr>
              <p:cNvPr id="198" name="组合 197"/>
              <p:cNvGrpSpPr/>
              <p:nvPr/>
            </p:nvGrpSpPr>
            <p:grpSpPr>
              <a:xfrm>
                <a:off x="3254682" y="3972683"/>
                <a:ext cx="340689" cy="240988"/>
                <a:chOff x="3271519" y="4367428"/>
                <a:chExt cx="631287" cy="446544"/>
              </a:xfrm>
            </p:grpSpPr>
            <p:grpSp>
              <p:nvGrpSpPr>
                <p:cNvPr id="201" name="组合 200"/>
                <p:cNvGrpSpPr/>
                <p:nvPr/>
              </p:nvGrpSpPr>
              <p:grpSpPr>
                <a:xfrm>
                  <a:off x="3271519" y="4367428"/>
                  <a:ext cx="631287" cy="446544"/>
                  <a:chOff x="3271520" y="4368279"/>
                  <a:chExt cx="289560" cy="204821"/>
                </a:xfrm>
              </p:grpSpPr>
              <p:sp>
                <p:nvSpPr>
                  <p:cNvPr id="204" name="圆角矩形 203"/>
                  <p:cNvSpPr/>
                  <p:nvPr/>
                </p:nvSpPr>
                <p:spPr>
                  <a:xfrm>
                    <a:off x="3271520" y="4483100"/>
                    <a:ext cx="289560" cy="90000"/>
                  </a:xfrm>
                  <a:prstGeom prst="roundRect">
                    <a:avLst/>
                  </a:prstGeom>
                  <a:noFill/>
                  <a:ln w="28575" cap="flat" cmpd="sng" algn="ctr">
                    <a:solidFill>
                      <a:schemeClr val="bg1"/>
                    </a:solidFill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en-US" sz="1200" b="0" i="0" u="none" strike="noStrike" kern="0" cap="none" spc="0" normalizeH="0" baseline="0" noProof="0" dirty="0" smtClean="0">
                      <a:ln>
                        <a:noFill/>
                      </a:ln>
                      <a:effectLst/>
                      <a:uLnTx/>
                      <a:uFillTx/>
                      <a:ea typeface="宋体"/>
                      <a:cs typeface="+mn-cs"/>
                    </a:endParaRPr>
                  </a:p>
                </p:txBody>
              </p:sp>
              <p:sp>
                <p:nvSpPr>
                  <p:cNvPr id="205" name="梯形 204"/>
                  <p:cNvSpPr/>
                  <p:nvPr/>
                </p:nvSpPr>
                <p:spPr>
                  <a:xfrm>
                    <a:off x="3275900" y="4368279"/>
                    <a:ext cx="280800" cy="117673"/>
                  </a:xfrm>
                  <a:prstGeom prst="trapezoid">
                    <a:avLst>
                      <a:gd name="adj" fmla="val 33333"/>
                    </a:avLst>
                  </a:prstGeom>
                  <a:noFill/>
                  <a:ln w="28575" cap="flat" cmpd="sng" algn="ctr">
                    <a:solidFill>
                      <a:schemeClr val="bg1"/>
                    </a:solidFill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zh-CN" altLang="en-US" sz="1200" b="0" i="0" u="none" strike="noStrike" kern="0" cap="none" spc="0" normalizeH="0" baseline="0" noProof="0" dirty="0" smtClean="0">
                      <a:ln>
                        <a:noFill/>
                      </a:ln>
                      <a:effectLst/>
                      <a:uLnTx/>
                      <a:uFillTx/>
                      <a:ea typeface="宋体"/>
                      <a:cs typeface="+mn-cs"/>
                    </a:endParaRPr>
                  </a:p>
                </p:txBody>
              </p:sp>
            </p:grpSp>
            <p:sp>
              <p:nvSpPr>
                <p:cNvPr id="202" name="椭圆 201"/>
                <p:cNvSpPr/>
                <p:nvPr/>
              </p:nvSpPr>
              <p:spPr>
                <a:xfrm>
                  <a:off x="3650689" y="4689467"/>
                  <a:ext cx="73921" cy="73921"/>
                </a:xfrm>
                <a:prstGeom prst="ellipse">
                  <a:avLst/>
                </a:prstGeom>
                <a:solidFill>
                  <a:schemeClr val="bg1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zh-CN" altLang="en-US" sz="1200" b="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ea typeface="宋体"/>
                    <a:cs typeface="+mn-cs"/>
                  </a:endParaRPr>
                </a:p>
              </p:txBody>
            </p:sp>
            <p:sp>
              <p:nvSpPr>
                <p:cNvPr id="203" name="椭圆 202"/>
                <p:cNvSpPr/>
                <p:nvPr/>
              </p:nvSpPr>
              <p:spPr>
                <a:xfrm>
                  <a:off x="3766852" y="4689467"/>
                  <a:ext cx="73921" cy="73921"/>
                </a:xfrm>
                <a:prstGeom prst="ellipse">
                  <a:avLst/>
                </a:prstGeom>
                <a:solidFill>
                  <a:schemeClr val="bg1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zh-CN" altLang="en-US" sz="1200" b="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ea typeface="宋体"/>
                    <a:cs typeface="+mn-cs"/>
                  </a:endParaRPr>
                </a:p>
              </p:txBody>
            </p:sp>
          </p:grpSp>
          <p:sp>
            <p:nvSpPr>
              <p:cNvPr id="199" name="任意多边形 198"/>
              <p:cNvSpPr/>
              <p:nvPr/>
            </p:nvSpPr>
            <p:spPr>
              <a:xfrm>
                <a:off x="3529246" y="3877429"/>
                <a:ext cx="99060" cy="95250"/>
              </a:xfrm>
              <a:custGeom>
                <a:avLst/>
                <a:gdLst>
                  <a:gd name="connsiteX0" fmla="*/ 0 w 106680"/>
                  <a:gd name="connsiteY0" fmla="*/ 0 h 102870"/>
                  <a:gd name="connsiteX1" fmla="*/ 106680 w 106680"/>
                  <a:gd name="connsiteY1" fmla="*/ 102870 h 102870"/>
                  <a:gd name="connsiteX0" fmla="*/ 0 w 106680"/>
                  <a:gd name="connsiteY0" fmla="*/ 0 h 102870"/>
                  <a:gd name="connsiteX1" fmla="*/ 106680 w 106680"/>
                  <a:gd name="connsiteY1" fmla="*/ 102870 h 102870"/>
                  <a:gd name="connsiteX0" fmla="*/ 0 w 106680"/>
                  <a:gd name="connsiteY0" fmla="*/ 0 h 102870"/>
                  <a:gd name="connsiteX1" fmla="*/ 106680 w 106680"/>
                  <a:gd name="connsiteY1" fmla="*/ 102870 h 102870"/>
                  <a:gd name="connsiteX0" fmla="*/ 0 w 99060"/>
                  <a:gd name="connsiteY0" fmla="*/ 0 h 95250"/>
                  <a:gd name="connsiteX1" fmla="*/ 99060 w 99060"/>
                  <a:gd name="connsiteY1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060" h="95250">
                    <a:moveTo>
                      <a:pt x="0" y="0"/>
                    </a:moveTo>
                    <a:cubicBezTo>
                      <a:pt x="71755" y="7620"/>
                      <a:pt x="92075" y="47625"/>
                      <a:pt x="99060" y="95250"/>
                    </a:cubicBezTo>
                  </a:path>
                </a:pathLst>
              </a:cu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0" name="任意多边形 199"/>
              <p:cNvSpPr/>
              <p:nvPr/>
            </p:nvSpPr>
            <p:spPr>
              <a:xfrm>
                <a:off x="3528097" y="3816913"/>
                <a:ext cx="159354" cy="153226"/>
              </a:xfrm>
              <a:custGeom>
                <a:avLst/>
                <a:gdLst>
                  <a:gd name="connsiteX0" fmla="*/ 0 w 106680"/>
                  <a:gd name="connsiteY0" fmla="*/ 0 h 102870"/>
                  <a:gd name="connsiteX1" fmla="*/ 106680 w 106680"/>
                  <a:gd name="connsiteY1" fmla="*/ 102870 h 102870"/>
                  <a:gd name="connsiteX0" fmla="*/ 0 w 106680"/>
                  <a:gd name="connsiteY0" fmla="*/ 0 h 102870"/>
                  <a:gd name="connsiteX1" fmla="*/ 106680 w 106680"/>
                  <a:gd name="connsiteY1" fmla="*/ 102870 h 102870"/>
                  <a:gd name="connsiteX0" fmla="*/ 0 w 106680"/>
                  <a:gd name="connsiteY0" fmla="*/ 0 h 102870"/>
                  <a:gd name="connsiteX1" fmla="*/ 106680 w 106680"/>
                  <a:gd name="connsiteY1" fmla="*/ 102870 h 102870"/>
                  <a:gd name="connsiteX0" fmla="*/ 0 w 99060"/>
                  <a:gd name="connsiteY0" fmla="*/ 0 h 95250"/>
                  <a:gd name="connsiteX1" fmla="*/ 99060 w 99060"/>
                  <a:gd name="connsiteY1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060" h="95250">
                    <a:moveTo>
                      <a:pt x="0" y="0"/>
                    </a:moveTo>
                    <a:cubicBezTo>
                      <a:pt x="71755" y="7620"/>
                      <a:pt x="92075" y="47625"/>
                      <a:pt x="99060" y="95250"/>
                    </a:cubicBezTo>
                  </a:path>
                </a:pathLst>
              </a:cu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pic>
        <p:nvPicPr>
          <p:cNvPr id="64" name="图片 6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2885" y="253499"/>
            <a:ext cx="1217515" cy="279425"/>
          </a:xfrm>
          <a:prstGeom prst="rect">
            <a:avLst/>
          </a:prstGeom>
        </p:spPr>
      </p:pic>
      <p:sp>
        <p:nvSpPr>
          <p:cNvPr id="65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870700" y="1229271"/>
            <a:ext cx="6944940" cy="98488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3200" b="0" kern="1200" spc="-15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b="1" spc="0" dirty="0" smtClean="0">
                <a:solidFill>
                  <a:schemeClr val="tx1"/>
                </a:solidFill>
                <a:latin typeface="Gill Sans MT" panose="020B0502020104020203" pitchFamily="34" charset="0"/>
                <a:ea typeface="微软雅黑" panose="020B0503020204020204" pitchFamily="34" charset="-122"/>
                <a:cs typeface="Segoe UI Semilight" panose="020B0402040204020203" pitchFamily="34" charset="0"/>
              </a:rPr>
              <a:t>成功的</a:t>
            </a:r>
            <a:r>
              <a:rPr lang="en-US" altLang="zh-CN" b="1" spc="0" dirty="0" smtClean="0">
                <a:solidFill>
                  <a:schemeClr val="tx1"/>
                </a:solidFill>
                <a:latin typeface="+mn-ea"/>
                <a:ea typeface="+mn-ea"/>
                <a:cs typeface="Segoe UI Semilight" panose="020B0402040204020203" pitchFamily="34" charset="0"/>
              </a:rPr>
              <a:t>Scrum</a:t>
            </a:r>
            <a:endParaRPr lang="en-US" b="1" spc="0" dirty="0">
              <a:solidFill>
                <a:schemeClr val="tx1"/>
              </a:solidFill>
              <a:latin typeface="+mn-ea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66" name="文本占位符 9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70700" y="2826431"/>
            <a:ext cx="5602754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800" dirty="0" smtClean="0">
                <a:solidFill>
                  <a:schemeClr val="tx1"/>
                </a:solidFill>
                <a:latin typeface="Gill Sans MT" panose="020B0502020104020203" pitchFamily="34" charset="0"/>
                <a:cs typeface="Segoe UI Semilight" panose="020B0402040204020203" pitchFamily="34" charset="0"/>
              </a:rPr>
              <a:t>Jul, 2017    Luke Shen</a:t>
            </a:r>
            <a:endParaRPr lang="zh-CN" altLang="en-US" sz="1800" dirty="0">
              <a:solidFill>
                <a:schemeClr val="tx1"/>
              </a:solidFill>
              <a:latin typeface="Gill Sans MT" panose="020B05020201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0401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- </a:t>
            </a:r>
            <a:r>
              <a:rPr lang="en-US" altLang="zh-CN" dirty="0" err="1" smtClean="0"/>
              <a:t>kanban</a:t>
            </a:r>
            <a:endParaRPr lang="zh-CN" altLang="en-US" dirty="0"/>
          </a:p>
        </p:txBody>
      </p:sp>
      <p:pic>
        <p:nvPicPr>
          <p:cNvPr id="54278" name="Picture 6" descr="scrum 的图像结果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1435" y="465381"/>
            <a:ext cx="2119163" cy="1545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280" name="Picture 8" descr="scrum 的图像结果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532" y="816343"/>
            <a:ext cx="3871519" cy="239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282" name="Picture 10" descr="scrum 的图像结果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249" y="2733874"/>
            <a:ext cx="2204794" cy="1653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284" name="Picture 12" descr="scrum 的图像结果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1435" y="2382054"/>
            <a:ext cx="2208452" cy="1656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38195" y="815417"/>
            <a:ext cx="2133042" cy="142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860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– </a:t>
            </a:r>
            <a:r>
              <a:rPr lang="zh-CN" altLang="en-US" dirty="0" smtClean="0"/>
              <a:t>延烧图</a:t>
            </a:r>
            <a:endParaRPr lang="zh-CN" altLang="en-US" dirty="0"/>
          </a:p>
        </p:txBody>
      </p:sp>
      <p:pic>
        <p:nvPicPr>
          <p:cNvPr id="55298" name="Picture 2" descr="scrum 的图像结果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435520"/>
            <a:ext cx="4038920" cy="2436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300" name="Picture 4" descr="scrum 的图像结果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9421" y="512058"/>
            <a:ext cx="2576968" cy="1614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6096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– Demo meeting</a:t>
            </a:r>
            <a:endParaRPr lang="zh-CN" altLang="en-US" dirty="0"/>
          </a:p>
        </p:txBody>
      </p:sp>
      <p:pic>
        <p:nvPicPr>
          <p:cNvPr id="57346" name="Picture 2" descr="scrum demo 的图像结果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411" y="1047088"/>
            <a:ext cx="3723193" cy="1998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348" name="Picture 4" descr="飞机结构 的图像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0814" y="3045203"/>
            <a:ext cx="2184953" cy="1553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352" name="Picture 8" descr="飞机结构 的图像结果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291" y="3137482"/>
            <a:ext cx="1757476" cy="1320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62711" y="536894"/>
            <a:ext cx="3384915" cy="2030949"/>
          </a:xfrm>
          <a:prstGeom prst="rect">
            <a:avLst/>
          </a:prstGeom>
        </p:spPr>
      </p:pic>
      <p:pic>
        <p:nvPicPr>
          <p:cNvPr id="11" name="Picture 6" descr="飞机结构 的图像结果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6850" y="150325"/>
            <a:ext cx="1920918" cy="1255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7556" y="3137482"/>
            <a:ext cx="2206312" cy="1447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58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– Retrospective meeting</a:t>
            </a:r>
            <a:endParaRPr lang="zh-CN" altLang="en-US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415" y="1105812"/>
            <a:ext cx="6765497" cy="328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383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857251" y="1"/>
          <a:ext cx="1289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7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57251" y="1"/>
                        <a:ext cx="12898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zh-CN" altLang="en-US" dirty="0" smtClean="0"/>
              <a:t>议程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 smtClean="0"/>
              <a:t>Agenda</a:t>
            </a:r>
            <a:endParaRPr lang="zh-CN" altLang="en-US" dirty="0"/>
          </a:p>
        </p:txBody>
      </p:sp>
      <p:sp>
        <p:nvSpPr>
          <p:cNvPr id="8" name="矩形 7"/>
          <p:cNvSpPr/>
          <p:nvPr>
            <p:custDataLst>
              <p:tags r:id="rId4"/>
            </p:custDataLst>
          </p:nvPr>
        </p:nvSpPr>
        <p:spPr>
          <a:xfrm>
            <a:off x="1800" y="2191566"/>
            <a:ext cx="9144000" cy="4680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zh-CN" altLang="en-US" sz="900" kern="0" dirty="0">
              <a:latin typeface="Gill Sans MT" panose="020B0502020104020203" pitchFamily="34" charset="0"/>
              <a:ea typeface="宋体"/>
            </a:endParaRPr>
          </a:p>
        </p:txBody>
      </p:sp>
      <p:sp>
        <p:nvSpPr>
          <p:cNvPr id="7" name="TextBox 6"/>
          <p:cNvSpPr txBox="1"/>
          <p:nvPr>
            <p:custDataLst>
              <p:tags r:id="rId5"/>
            </p:custDataLst>
          </p:nvPr>
        </p:nvSpPr>
        <p:spPr>
          <a:xfrm>
            <a:off x="457200" y="1697764"/>
            <a:ext cx="6687900" cy="19236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zh-CN" altLang="en-US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 快速入门</a:t>
            </a:r>
            <a:endParaRPr lang="en-US" altLang="zh-CN" sz="2000" b="1" kern="0" dirty="0" smtClean="0">
              <a:latin typeface="Gill Sans MT" panose="020B0502020104020203" pitchFamily="34" charset="0"/>
              <a:ea typeface="微软雅黑" panose="020B0503020204020204" pitchFamily="34" charset="-122"/>
            </a:endParaRPr>
          </a:p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zh-CN" altLang="en-US" sz="2000" b="1" kern="0" dirty="0" smtClean="0">
                <a:solidFill>
                  <a:schemeClr val="bg1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 </a:t>
            </a:r>
            <a:r>
              <a:rPr lang="en-US" altLang="zh-CN" sz="2000" b="1" kern="0" dirty="0" smtClean="0">
                <a:solidFill>
                  <a:schemeClr val="bg1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Scrum</a:t>
            </a:r>
            <a:r>
              <a:rPr lang="zh-CN" altLang="en-US" sz="2000" b="1" kern="0" dirty="0" smtClean="0">
                <a:solidFill>
                  <a:schemeClr val="bg1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本质</a:t>
            </a:r>
            <a:endParaRPr lang="en-US" altLang="zh-CN" sz="2000" b="1" kern="0" dirty="0" smtClean="0">
              <a:solidFill>
                <a:schemeClr val="bg1"/>
              </a:solidFill>
              <a:latin typeface="Gill Sans MT" panose="020B0502020104020203" pitchFamily="34" charset="0"/>
              <a:ea typeface="微软雅黑" panose="020B0503020204020204" pitchFamily="34" charset="-122"/>
            </a:endParaRPr>
          </a:p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zh-CN" altLang="en-US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 </a:t>
            </a:r>
            <a:r>
              <a:rPr lang="en-US" altLang="zh-CN" sz="2000" b="1" kern="0" dirty="0">
                <a:latin typeface="Gill Sans MT" panose="020B0502020104020203" pitchFamily="34" charset="0"/>
                <a:ea typeface="微软雅黑" panose="020B0503020204020204" pitchFamily="34" charset="-122"/>
              </a:rPr>
              <a:t>Scrum</a:t>
            </a:r>
            <a:r>
              <a:rPr lang="zh-CN" altLang="en-US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要求</a:t>
            </a:r>
            <a:endParaRPr lang="en-US" altLang="zh-CN" sz="2000" b="1" kern="0" dirty="0" smtClean="0">
              <a:latin typeface="Gill Sans MT" panose="020B0502020104020203" pitchFamily="34" charset="0"/>
              <a:ea typeface="微软雅黑" panose="020B0503020204020204" pitchFamily="34" charset="-122"/>
            </a:endParaRPr>
          </a:p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en-US" altLang="zh-CN" sz="2000" b="1" kern="0" dirty="0">
                <a:solidFill>
                  <a:srgbClr val="000000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 </a:t>
            </a:r>
            <a:r>
              <a:rPr lang="zh-CN" altLang="en-US" sz="2000" b="1" kern="0" dirty="0" smtClean="0">
                <a:solidFill>
                  <a:srgbClr val="000000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成功的</a:t>
            </a:r>
            <a:r>
              <a:rPr lang="en-US" altLang="zh-CN" sz="2000" b="1" kern="0" dirty="0" smtClean="0">
                <a:solidFill>
                  <a:srgbClr val="000000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Scrum</a:t>
            </a:r>
            <a:endParaRPr lang="zh-CN" altLang="en-US" sz="2000" b="1" kern="0" dirty="0">
              <a:solidFill>
                <a:srgbClr val="000000"/>
              </a:solidFill>
              <a:latin typeface="Gill Sans MT" panose="020B0502020104020203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71035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/>
              <a:t>Scrum </a:t>
            </a:r>
            <a:r>
              <a:rPr lang="en-US" altLang="zh-CN" dirty="0" smtClean="0"/>
              <a:t>– </a:t>
            </a:r>
            <a:r>
              <a:rPr lang="zh-CN" altLang="en-US" dirty="0" smtClean="0"/>
              <a:t>本质</a:t>
            </a:r>
            <a:endParaRPr lang="zh-CN" altLang="en-US" dirty="0"/>
          </a:p>
        </p:txBody>
      </p:sp>
      <p:sp>
        <p:nvSpPr>
          <p:cNvPr id="21" name="同侧圆角矩形 20"/>
          <p:cNvSpPr/>
          <p:nvPr>
            <p:custDataLst>
              <p:tags r:id="rId1"/>
            </p:custDataLst>
          </p:nvPr>
        </p:nvSpPr>
        <p:spPr>
          <a:xfrm flipV="1">
            <a:off x="1598102" y="3248895"/>
            <a:ext cx="2520000" cy="224148"/>
          </a:xfrm>
          <a:prstGeom prst="round2SameRect">
            <a:avLst>
              <a:gd name="adj1" fmla="val 3942"/>
              <a:gd name="adj2" fmla="val 0"/>
            </a:avLst>
          </a:prstGeom>
          <a:gradFill>
            <a:gsLst>
              <a:gs pos="70000">
                <a:schemeClr val="bg1"/>
              </a:gs>
              <a:gs pos="100000">
                <a:schemeClr val="accent4"/>
              </a:gs>
              <a:gs pos="0">
                <a:schemeClr val="bg1"/>
              </a:gs>
            </a:gsLst>
            <a:lin ang="16200000" scaled="0"/>
          </a:gra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72000" rIns="108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zh-CN" altLang="zh-CN" sz="14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22" name="同侧圆角矩形 21"/>
          <p:cNvSpPr/>
          <p:nvPr>
            <p:custDataLst>
              <p:tags r:id="rId2"/>
            </p:custDataLst>
          </p:nvPr>
        </p:nvSpPr>
        <p:spPr>
          <a:xfrm>
            <a:off x="1598102" y="2960895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增量迭代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" name="同侧圆角矩形 11"/>
          <p:cNvSpPr/>
          <p:nvPr>
            <p:custDataLst>
              <p:tags r:id="rId3"/>
            </p:custDataLst>
          </p:nvPr>
        </p:nvSpPr>
        <p:spPr>
          <a:xfrm flipV="1">
            <a:off x="4619537" y="3248895"/>
            <a:ext cx="2520000" cy="224148"/>
          </a:xfrm>
          <a:prstGeom prst="round2SameRect">
            <a:avLst>
              <a:gd name="adj1" fmla="val 3942"/>
              <a:gd name="adj2" fmla="val 0"/>
            </a:avLst>
          </a:prstGeom>
          <a:gradFill>
            <a:gsLst>
              <a:gs pos="70000">
                <a:schemeClr val="bg1"/>
              </a:gs>
              <a:gs pos="100000">
                <a:schemeClr val="accent4"/>
              </a:gs>
              <a:gs pos="0">
                <a:schemeClr val="bg1"/>
              </a:gs>
            </a:gsLst>
            <a:lin ang="16200000" scaled="0"/>
          </a:gra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72000" rIns="108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zh-CN" altLang="zh-CN" sz="14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13" name="同侧圆角矩形 12"/>
          <p:cNvSpPr/>
          <p:nvPr>
            <p:custDataLst>
              <p:tags r:id="rId4"/>
            </p:custDataLst>
          </p:nvPr>
        </p:nvSpPr>
        <p:spPr>
          <a:xfrm>
            <a:off x="4619537" y="2960895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持续重构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4" name="同侧圆角矩形 13"/>
          <p:cNvSpPr/>
          <p:nvPr>
            <p:custDataLst>
              <p:tags r:id="rId5"/>
            </p:custDataLst>
          </p:nvPr>
        </p:nvSpPr>
        <p:spPr>
          <a:xfrm flipV="1">
            <a:off x="457200" y="2157107"/>
            <a:ext cx="2520000" cy="224148"/>
          </a:xfrm>
          <a:prstGeom prst="round2SameRect">
            <a:avLst>
              <a:gd name="adj1" fmla="val 3942"/>
              <a:gd name="adj2" fmla="val 0"/>
            </a:avLst>
          </a:prstGeom>
          <a:solidFill>
            <a:schemeClr val="bg1"/>
          </a:solidFill>
          <a:ln w="1270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72000" rIns="108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zh-CN" altLang="zh-CN" sz="1400" dirty="0">
              <a:solidFill>
                <a:schemeClr val="accent3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15" name="同侧圆角矩形 14"/>
          <p:cNvSpPr/>
          <p:nvPr>
            <p:custDataLst>
              <p:tags r:id="rId6"/>
            </p:custDataLst>
          </p:nvPr>
        </p:nvSpPr>
        <p:spPr>
          <a:xfrm>
            <a:off x="457200" y="1869107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rgbClr val="FFC000"/>
          </a:solidFill>
          <a:ln w="1270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3">
                    <a:lumMod val="75000"/>
                    <a:lumOff val="25000"/>
                  </a:schemeClr>
                </a:solidFill>
                <a:effectLst/>
                <a:uLnTx/>
                <a:uFillTx/>
                <a:cs typeface="+mn-cs"/>
              </a:rPr>
              <a:t>高透明性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accent3">
                  <a:lumMod val="75000"/>
                  <a:lumOff val="25000"/>
                </a:schemeClr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6" name="同侧圆角矩形 15"/>
          <p:cNvSpPr/>
          <p:nvPr>
            <p:custDataLst>
              <p:tags r:id="rId7"/>
            </p:custDataLst>
          </p:nvPr>
        </p:nvSpPr>
        <p:spPr>
          <a:xfrm flipV="1">
            <a:off x="3394745" y="2157107"/>
            <a:ext cx="2520000" cy="224148"/>
          </a:xfrm>
          <a:prstGeom prst="round2SameRect">
            <a:avLst>
              <a:gd name="adj1" fmla="val 3942"/>
              <a:gd name="adj2" fmla="val 0"/>
            </a:avLst>
          </a:prstGeom>
          <a:solidFill>
            <a:schemeClr val="bg1"/>
          </a:solidFill>
          <a:ln w="1270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72000" rIns="108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zh-CN" altLang="zh-CN" sz="1400" dirty="0">
              <a:solidFill>
                <a:schemeClr val="accent3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17" name="同侧圆角矩形 16"/>
          <p:cNvSpPr/>
          <p:nvPr>
            <p:custDataLst>
              <p:tags r:id="rId8"/>
            </p:custDataLst>
          </p:nvPr>
        </p:nvSpPr>
        <p:spPr>
          <a:xfrm>
            <a:off x="3394745" y="1869107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rgbClr val="FFC000"/>
          </a:solidFill>
          <a:ln w="1270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3">
                    <a:lumMod val="75000"/>
                    <a:lumOff val="25000"/>
                  </a:schemeClr>
                </a:solidFill>
                <a:effectLst/>
                <a:uLnTx/>
                <a:uFillTx/>
                <a:cs typeface="+mn-cs"/>
              </a:rPr>
              <a:t>可验证的高质量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accent3">
                  <a:lumMod val="75000"/>
                  <a:lumOff val="25000"/>
                </a:schemeClr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8" name="同侧圆角矩形 17"/>
          <p:cNvSpPr/>
          <p:nvPr>
            <p:custDataLst>
              <p:tags r:id="rId9"/>
            </p:custDataLst>
          </p:nvPr>
        </p:nvSpPr>
        <p:spPr>
          <a:xfrm flipV="1">
            <a:off x="6290345" y="2138877"/>
            <a:ext cx="2520000" cy="224148"/>
          </a:xfrm>
          <a:prstGeom prst="round2SameRect">
            <a:avLst>
              <a:gd name="adj1" fmla="val 3942"/>
              <a:gd name="adj2" fmla="val 0"/>
            </a:avLst>
          </a:prstGeom>
          <a:solidFill>
            <a:schemeClr val="bg1"/>
          </a:solidFill>
          <a:ln w="1270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72000" rIns="108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zh-CN" altLang="zh-CN" sz="1400" dirty="0">
              <a:solidFill>
                <a:schemeClr val="accent3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19" name="同侧圆角矩形 18"/>
          <p:cNvSpPr/>
          <p:nvPr>
            <p:custDataLst>
              <p:tags r:id="rId10"/>
            </p:custDataLst>
          </p:nvPr>
        </p:nvSpPr>
        <p:spPr>
          <a:xfrm>
            <a:off x="6290345" y="1850877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rgbClr val="FFC000"/>
          </a:solidFill>
          <a:ln w="1270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3">
                    <a:lumMod val="75000"/>
                    <a:lumOff val="25000"/>
                  </a:schemeClr>
                </a:solidFill>
                <a:effectLst/>
                <a:uLnTx/>
                <a:uFillTx/>
                <a:cs typeface="+mn-cs"/>
              </a:rPr>
              <a:t>高适应性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accent3">
                  <a:lumMod val="75000"/>
                  <a:lumOff val="25000"/>
                </a:schemeClr>
              </a:solidFill>
              <a:effectLst/>
              <a:uLnTx/>
              <a:uFillTx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1533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857251" y="1"/>
          <a:ext cx="1289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9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57251" y="1"/>
                        <a:ext cx="12898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zh-CN" altLang="en-US" dirty="0" smtClean="0"/>
              <a:t>议程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 smtClean="0"/>
              <a:t>Agenda</a:t>
            </a:r>
            <a:endParaRPr lang="zh-CN" altLang="en-US" dirty="0"/>
          </a:p>
        </p:txBody>
      </p:sp>
      <p:sp>
        <p:nvSpPr>
          <p:cNvPr id="8" name="矩形 7"/>
          <p:cNvSpPr/>
          <p:nvPr>
            <p:custDataLst>
              <p:tags r:id="rId4"/>
            </p:custDataLst>
          </p:nvPr>
        </p:nvSpPr>
        <p:spPr>
          <a:xfrm>
            <a:off x="0" y="2659566"/>
            <a:ext cx="9144000" cy="4680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zh-CN" altLang="en-US" sz="900" kern="0" dirty="0">
              <a:latin typeface="Gill Sans MT" panose="020B0502020104020203" pitchFamily="34" charset="0"/>
              <a:ea typeface="宋体"/>
            </a:endParaRPr>
          </a:p>
        </p:txBody>
      </p:sp>
      <p:sp>
        <p:nvSpPr>
          <p:cNvPr id="7" name="TextBox 6"/>
          <p:cNvSpPr txBox="1"/>
          <p:nvPr>
            <p:custDataLst>
              <p:tags r:id="rId5"/>
            </p:custDataLst>
          </p:nvPr>
        </p:nvSpPr>
        <p:spPr>
          <a:xfrm>
            <a:off x="457200" y="1697764"/>
            <a:ext cx="6687900" cy="19236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zh-CN" altLang="en-US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 快速入门</a:t>
            </a:r>
            <a:endParaRPr lang="en-US" altLang="zh-CN" sz="2000" b="1" kern="0" dirty="0" smtClean="0">
              <a:latin typeface="Gill Sans MT" panose="020B0502020104020203" pitchFamily="34" charset="0"/>
              <a:ea typeface="微软雅黑" panose="020B0503020204020204" pitchFamily="34" charset="-122"/>
            </a:endParaRPr>
          </a:p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zh-CN" altLang="en-US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 </a:t>
            </a:r>
            <a:r>
              <a:rPr lang="en-US" altLang="zh-CN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Scrum</a:t>
            </a:r>
            <a:r>
              <a:rPr lang="zh-CN" altLang="en-US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本质</a:t>
            </a:r>
            <a:endParaRPr lang="en-US" altLang="zh-CN" sz="2000" b="1" kern="0" dirty="0" smtClean="0">
              <a:latin typeface="Gill Sans MT" panose="020B0502020104020203" pitchFamily="34" charset="0"/>
              <a:ea typeface="微软雅黑" panose="020B0503020204020204" pitchFamily="34" charset="-122"/>
            </a:endParaRPr>
          </a:p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zh-CN" altLang="en-US" sz="2000" b="1" kern="0" dirty="0" smtClean="0">
                <a:solidFill>
                  <a:schemeClr val="bg1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 </a:t>
            </a:r>
            <a:r>
              <a:rPr lang="en-US" altLang="zh-CN" sz="2000" b="1" kern="0" dirty="0">
                <a:solidFill>
                  <a:schemeClr val="bg1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Scrum</a:t>
            </a:r>
            <a:r>
              <a:rPr lang="zh-CN" altLang="en-US" sz="2000" b="1" kern="0" dirty="0" smtClean="0">
                <a:solidFill>
                  <a:schemeClr val="bg1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要求</a:t>
            </a:r>
            <a:endParaRPr lang="en-US" altLang="zh-CN" sz="2000" b="1" kern="0" dirty="0" smtClean="0">
              <a:solidFill>
                <a:schemeClr val="bg1"/>
              </a:solidFill>
              <a:latin typeface="Gill Sans MT" panose="020B0502020104020203" pitchFamily="34" charset="0"/>
              <a:ea typeface="微软雅黑" panose="020B0503020204020204" pitchFamily="34" charset="-122"/>
            </a:endParaRPr>
          </a:p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en-US" altLang="zh-CN" sz="2000" b="1" kern="0" dirty="0">
                <a:solidFill>
                  <a:srgbClr val="000000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 </a:t>
            </a:r>
            <a:r>
              <a:rPr lang="zh-CN" altLang="en-US" sz="2000" b="1" kern="0" dirty="0" smtClean="0">
                <a:solidFill>
                  <a:srgbClr val="000000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成功的</a:t>
            </a:r>
            <a:r>
              <a:rPr lang="en-US" altLang="zh-CN" sz="2000" b="1" kern="0" dirty="0" smtClean="0">
                <a:solidFill>
                  <a:srgbClr val="000000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Scrum</a:t>
            </a:r>
            <a:endParaRPr lang="zh-CN" altLang="en-US" sz="2000" b="1" kern="0" dirty="0">
              <a:solidFill>
                <a:srgbClr val="000000"/>
              </a:solidFill>
              <a:latin typeface="Gill Sans MT" panose="020B0502020104020203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54008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椭圆 5"/>
          <p:cNvSpPr/>
          <p:nvPr/>
        </p:nvSpPr>
        <p:spPr>
          <a:xfrm>
            <a:off x="3274827" y="1860698"/>
            <a:ext cx="2360429" cy="2200939"/>
          </a:xfrm>
          <a:prstGeom prst="ellipse">
            <a:avLst/>
          </a:prstGeom>
          <a:solidFill>
            <a:srgbClr val="FFFFCC"/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– </a:t>
            </a:r>
            <a:r>
              <a:rPr lang="zh-CN" altLang="en-US" dirty="0" smtClean="0"/>
              <a:t>团队</a:t>
            </a:r>
            <a:endParaRPr lang="zh-CN" altLang="en-US" dirty="0"/>
          </a:p>
        </p:txBody>
      </p:sp>
      <p:pic>
        <p:nvPicPr>
          <p:cNvPr id="65538" name="Picture 2" descr="人  图标 的图像结果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356" y="2435033"/>
            <a:ext cx="748193" cy="967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矩形 3"/>
          <p:cNvSpPr/>
          <p:nvPr/>
        </p:nvSpPr>
        <p:spPr>
          <a:xfrm>
            <a:off x="3991046" y="2127256"/>
            <a:ext cx="902811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kumimoji="0" lang="zh-CN" altLang="en-US" sz="1400" b="0" i="0" u="none" strike="noStrike" kern="0" cap="none" spc="0" normalizeH="0" baseline="0" noProof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</a:rPr>
              <a:t>自我领导</a:t>
            </a:r>
            <a:endParaRPr lang="zh-CN" altLang="en-US" sz="1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7" name="矩形 6"/>
          <p:cNvSpPr/>
          <p:nvPr/>
        </p:nvSpPr>
        <p:spPr>
          <a:xfrm>
            <a:off x="3500988" y="3361311"/>
            <a:ext cx="902811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1400" b="0" cap="non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高度负责</a:t>
            </a:r>
            <a:endParaRPr lang="zh-CN" altLang="en-US" sz="1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8" name="矩形 7"/>
          <p:cNvSpPr/>
          <p:nvPr/>
        </p:nvSpPr>
        <p:spPr>
          <a:xfrm>
            <a:off x="4544784" y="3361311"/>
            <a:ext cx="902811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1400" b="0" cap="non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主动沟通</a:t>
            </a:r>
            <a:endParaRPr lang="zh-CN" altLang="en-US" sz="1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84127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椭圆 23"/>
          <p:cNvSpPr/>
          <p:nvPr/>
        </p:nvSpPr>
        <p:spPr>
          <a:xfrm>
            <a:off x="2366090" y="852225"/>
            <a:ext cx="3970915" cy="3517756"/>
          </a:xfrm>
          <a:prstGeom prst="ellipse">
            <a:avLst/>
          </a:prstGeom>
          <a:solidFill>
            <a:srgbClr val="FFCC99"/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0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6" name="椭圆 5"/>
          <p:cNvSpPr/>
          <p:nvPr/>
        </p:nvSpPr>
        <p:spPr>
          <a:xfrm>
            <a:off x="2784069" y="1371143"/>
            <a:ext cx="1516521" cy="1374279"/>
          </a:xfrm>
          <a:prstGeom prst="ellipse">
            <a:avLst/>
          </a:prstGeom>
          <a:solidFill>
            <a:srgbClr val="FFFFCC"/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0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18" name="椭圆 17"/>
          <p:cNvSpPr/>
          <p:nvPr/>
        </p:nvSpPr>
        <p:spPr>
          <a:xfrm>
            <a:off x="3568231" y="2745422"/>
            <a:ext cx="1516521" cy="1374279"/>
          </a:xfrm>
          <a:prstGeom prst="ellipse">
            <a:avLst/>
          </a:prstGeom>
          <a:solidFill>
            <a:srgbClr val="FFFFCC"/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0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23" name="椭圆 22"/>
          <p:cNvSpPr/>
          <p:nvPr/>
        </p:nvSpPr>
        <p:spPr>
          <a:xfrm>
            <a:off x="4465110" y="1371143"/>
            <a:ext cx="1516521" cy="1374279"/>
          </a:xfrm>
          <a:prstGeom prst="ellipse">
            <a:avLst/>
          </a:prstGeom>
          <a:solidFill>
            <a:srgbClr val="FFFFCC"/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0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– </a:t>
            </a:r>
            <a:r>
              <a:rPr lang="zh-CN" altLang="en-US" dirty="0" smtClean="0"/>
              <a:t>团队</a:t>
            </a:r>
            <a:endParaRPr lang="zh-CN" altLang="en-US" dirty="0"/>
          </a:p>
        </p:txBody>
      </p:sp>
      <p:pic>
        <p:nvPicPr>
          <p:cNvPr id="65538" name="Picture 2" descr="人  图标 的图像结果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6906" y="1494254"/>
            <a:ext cx="726506" cy="939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矩形 3"/>
          <p:cNvSpPr/>
          <p:nvPr/>
        </p:nvSpPr>
        <p:spPr>
          <a:xfrm>
            <a:off x="3102948" y="1371143"/>
            <a:ext cx="874421" cy="24622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kumimoji="0" lang="zh-CN" altLang="en-US" sz="1000" b="0" i="0" u="none" strike="noStrike" kern="0" cap="none" spc="0" normalizeH="0" baseline="0" noProof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</a:rPr>
              <a:t>自我领导</a:t>
            </a:r>
            <a:endParaRPr lang="zh-CN" altLang="en-US" sz="1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7" name="矩形 6"/>
          <p:cNvSpPr/>
          <p:nvPr/>
        </p:nvSpPr>
        <p:spPr>
          <a:xfrm>
            <a:off x="2815968" y="2341096"/>
            <a:ext cx="874421" cy="24622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1000" b="0" cap="non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高度负责</a:t>
            </a:r>
            <a:endParaRPr lang="zh-CN" altLang="en-US" sz="1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8" name="矩形 7"/>
          <p:cNvSpPr/>
          <p:nvPr/>
        </p:nvSpPr>
        <p:spPr>
          <a:xfrm>
            <a:off x="3372475" y="2342103"/>
            <a:ext cx="874421" cy="24622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1000" b="0" cap="non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主动沟通</a:t>
            </a:r>
            <a:endParaRPr lang="zh-CN" altLang="en-US" sz="1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14" name="Picture 2" descr="人  图标 的图像结果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1068" y="2868533"/>
            <a:ext cx="726506" cy="939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矩形 14"/>
          <p:cNvSpPr/>
          <p:nvPr/>
        </p:nvSpPr>
        <p:spPr>
          <a:xfrm>
            <a:off x="3887110" y="2745422"/>
            <a:ext cx="874421" cy="24622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kumimoji="0" lang="zh-CN" altLang="en-US" sz="1000" b="0" i="0" u="none" strike="noStrike" kern="0" cap="none" spc="0" normalizeH="0" baseline="0" noProof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</a:rPr>
              <a:t>自我领导</a:t>
            </a:r>
            <a:endParaRPr lang="zh-CN" altLang="en-US" sz="1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3600130" y="3715375"/>
            <a:ext cx="874421" cy="24622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1000" b="0" cap="non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高度负责</a:t>
            </a:r>
            <a:endParaRPr lang="zh-CN" altLang="en-US" sz="1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4156637" y="3716382"/>
            <a:ext cx="874421" cy="24622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1000" b="0" cap="non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主动沟通</a:t>
            </a:r>
            <a:endParaRPr lang="zh-CN" altLang="en-US" sz="1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19" name="Picture 2" descr="人  图标 的图像结果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947" y="1494254"/>
            <a:ext cx="726506" cy="939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矩形 19"/>
          <p:cNvSpPr/>
          <p:nvPr/>
        </p:nvSpPr>
        <p:spPr>
          <a:xfrm>
            <a:off x="4783989" y="1371143"/>
            <a:ext cx="874421" cy="24622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kumimoji="0" lang="zh-CN" altLang="en-US" sz="1000" b="0" i="0" u="none" strike="noStrike" kern="0" cap="none" spc="0" normalizeH="0" baseline="0" noProof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</a:rPr>
              <a:t>自我领导</a:t>
            </a:r>
            <a:endParaRPr lang="zh-CN" altLang="en-US" sz="1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4497009" y="2341096"/>
            <a:ext cx="874421" cy="24622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1000" b="0" cap="non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高度负责</a:t>
            </a:r>
            <a:endParaRPr lang="zh-CN" altLang="en-US" sz="1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5053516" y="2342103"/>
            <a:ext cx="874421" cy="24622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1000" b="0" cap="non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主动沟通</a:t>
            </a:r>
            <a:endParaRPr lang="zh-CN" altLang="en-US" sz="1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655981" y="852225"/>
            <a:ext cx="1974900" cy="15081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rgbClr val="C00000"/>
                </a:solidFill>
              </a:rPr>
              <a:t>作为团队整体去工作</a:t>
            </a:r>
            <a:endParaRPr lang="en-US" altLang="zh-CN" sz="1400" kern="0" dirty="0" smtClean="0">
              <a:solidFill>
                <a:srgbClr val="C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 smtClean="0">
              <a:solidFill>
                <a:srgbClr val="C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rgbClr val="C00000"/>
                </a:solidFill>
              </a:rPr>
              <a:t>团队成功是每个人的成功</a:t>
            </a:r>
            <a:endParaRPr lang="en-US" altLang="zh-CN" sz="1400" kern="0" dirty="0" smtClean="0">
              <a:solidFill>
                <a:srgbClr val="C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>
              <a:solidFill>
                <a:srgbClr val="C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rgbClr val="C00000"/>
                </a:solidFill>
              </a:rPr>
              <a:t>团队失败是每个人的失败</a:t>
            </a:r>
            <a:endParaRPr lang="en-US" altLang="zh-CN" sz="1400" kern="0" dirty="0" smtClean="0">
              <a:solidFill>
                <a:srgbClr val="C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 smtClean="0">
              <a:solidFill>
                <a:srgbClr val="C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为团队争取最大权益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94306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– </a:t>
            </a:r>
            <a:r>
              <a:rPr lang="zh-CN" altLang="en-US" dirty="0" smtClean="0"/>
              <a:t>工具</a:t>
            </a:r>
            <a:endParaRPr lang="zh-CN" altLang="en-US" dirty="0"/>
          </a:p>
        </p:txBody>
      </p:sp>
      <p:sp>
        <p:nvSpPr>
          <p:cNvPr id="4" name="同侧圆角矩形 3"/>
          <p:cNvSpPr/>
          <p:nvPr>
            <p:custDataLst>
              <p:tags r:id="rId1"/>
            </p:custDataLst>
          </p:nvPr>
        </p:nvSpPr>
        <p:spPr>
          <a:xfrm flipV="1">
            <a:off x="1482931" y="3542738"/>
            <a:ext cx="2520000" cy="224148"/>
          </a:xfrm>
          <a:prstGeom prst="round2SameRect">
            <a:avLst>
              <a:gd name="adj1" fmla="val 3942"/>
              <a:gd name="adj2" fmla="val 0"/>
            </a:avLst>
          </a:prstGeom>
          <a:gradFill>
            <a:gsLst>
              <a:gs pos="70000">
                <a:schemeClr val="bg1"/>
              </a:gs>
              <a:gs pos="100000">
                <a:schemeClr val="accent4"/>
              </a:gs>
              <a:gs pos="0">
                <a:schemeClr val="bg1"/>
              </a:gs>
            </a:gsLst>
            <a:lin ang="16200000" scaled="0"/>
          </a:gra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72000" rIns="108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zh-CN" altLang="zh-CN" sz="14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6" name="同侧圆角矩形 5"/>
          <p:cNvSpPr/>
          <p:nvPr>
            <p:custDataLst>
              <p:tags r:id="rId2"/>
            </p:custDataLst>
          </p:nvPr>
        </p:nvSpPr>
        <p:spPr>
          <a:xfrm>
            <a:off x="1482931" y="3254738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持续集成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7" name="同侧圆角矩形 6"/>
          <p:cNvSpPr/>
          <p:nvPr>
            <p:custDataLst>
              <p:tags r:id="rId3"/>
            </p:custDataLst>
          </p:nvPr>
        </p:nvSpPr>
        <p:spPr>
          <a:xfrm flipV="1">
            <a:off x="2832998" y="2746214"/>
            <a:ext cx="2520000" cy="224148"/>
          </a:xfrm>
          <a:prstGeom prst="round2SameRect">
            <a:avLst>
              <a:gd name="adj1" fmla="val 3942"/>
              <a:gd name="adj2" fmla="val 0"/>
            </a:avLst>
          </a:prstGeom>
          <a:gradFill>
            <a:gsLst>
              <a:gs pos="70000">
                <a:schemeClr val="bg1"/>
              </a:gs>
              <a:gs pos="100000">
                <a:schemeClr val="accent4"/>
              </a:gs>
              <a:gs pos="0">
                <a:schemeClr val="bg1"/>
              </a:gs>
            </a:gsLst>
            <a:lin ang="16200000" scaled="0"/>
          </a:gra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72000" rIns="108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zh-CN" altLang="zh-CN" sz="14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同侧圆角矩形 7"/>
          <p:cNvSpPr/>
          <p:nvPr>
            <p:custDataLst>
              <p:tags r:id="rId4"/>
            </p:custDataLst>
          </p:nvPr>
        </p:nvSpPr>
        <p:spPr>
          <a:xfrm>
            <a:off x="2832998" y="2458214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自动化测试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9" name="同侧圆角矩形 8"/>
          <p:cNvSpPr/>
          <p:nvPr>
            <p:custDataLst>
              <p:tags r:id="rId5"/>
            </p:custDataLst>
          </p:nvPr>
        </p:nvSpPr>
        <p:spPr>
          <a:xfrm flipV="1">
            <a:off x="4326914" y="1885838"/>
            <a:ext cx="2520000" cy="224148"/>
          </a:xfrm>
          <a:prstGeom prst="round2SameRect">
            <a:avLst>
              <a:gd name="adj1" fmla="val 3942"/>
              <a:gd name="adj2" fmla="val 0"/>
            </a:avLst>
          </a:prstGeom>
          <a:gradFill>
            <a:gsLst>
              <a:gs pos="70000">
                <a:schemeClr val="bg1"/>
              </a:gs>
              <a:gs pos="100000">
                <a:schemeClr val="accent4"/>
              </a:gs>
              <a:gs pos="0">
                <a:schemeClr val="bg1"/>
              </a:gs>
            </a:gsLst>
            <a:lin ang="16200000" scaled="0"/>
          </a:gra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72000" rIns="108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zh-CN" altLang="zh-CN" sz="14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10" name="同侧圆角矩形 9"/>
          <p:cNvSpPr/>
          <p:nvPr>
            <p:custDataLst>
              <p:tags r:id="rId6"/>
            </p:custDataLst>
          </p:nvPr>
        </p:nvSpPr>
        <p:spPr>
          <a:xfrm>
            <a:off x="4326914" y="1597838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rgbClr val="C00000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持续微重构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" name="同侧圆角矩形 10"/>
          <p:cNvSpPr/>
          <p:nvPr>
            <p:custDataLst>
              <p:tags r:id="rId7"/>
            </p:custDataLst>
          </p:nvPr>
        </p:nvSpPr>
        <p:spPr>
          <a:xfrm flipV="1">
            <a:off x="1482931" y="1885838"/>
            <a:ext cx="2520000" cy="224148"/>
          </a:xfrm>
          <a:prstGeom prst="round2SameRect">
            <a:avLst>
              <a:gd name="adj1" fmla="val 3942"/>
              <a:gd name="adj2" fmla="val 0"/>
            </a:avLst>
          </a:prstGeom>
          <a:gradFill>
            <a:gsLst>
              <a:gs pos="70000">
                <a:schemeClr val="bg1"/>
              </a:gs>
              <a:gs pos="100000">
                <a:schemeClr val="accent4"/>
              </a:gs>
              <a:gs pos="0">
                <a:schemeClr val="bg1"/>
              </a:gs>
            </a:gsLst>
            <a:lin ang="16200000" scaled="0"/>
          </a:gra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72000" rIns="108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zh-CN" altLang="zh-CN" sz="14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12" name="同侧圆角矩形 11"/>
          <p:cNvSpPr/>
          <p:nvPr>
            <p:custDataLst>
              <p:tags r:id="rId8"/>
            </p:custDataLst>
          </p:nvPr>
        </p:nvSpPr>
        <p:spPr>
          <a:xfrm>
            <a:off x="1482931" y="1597838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rgbClr val="C00000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状态可视跟踪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3" name="同侧圆角矩形 12"/>
          <p:cNvSpPr/>
          <p:nvPr>
            <p:custDataLst>
              <p:tags r:id="rId9"/>
            </p:custDataLst>
          </p:nvPr>
        </p:nvSpPr>
        <p:spPr>
          <a:xfrm flipV="1">
            <a:off x="4326914" y="3542738"/>
            <a:ext cx="2520000" cy="224148"/>
          </a:xfrm>
          <a:prstGeom prst="round2SameRect">
            <a:avLst>
              <a:gd name="adj1" fmla="val 3942"/>
              <a:gd name="adj2" fmla="val 0"/>
            </a:avLst>
          </a:prstGeom>
          <a:gradFill>
            <a:gsLst>
              <a:gs pos="70000">
                <a:schemeClr val="bg1"/>
              </a:gs>
              <a:gs pos="100000">
                <a:schemeClr val="accent4"/>
              </a:gs>
              <a:gs pos="0">
                <a:schemeClr val="bg1"/>
              </a:gs>
            </a:gsLst>
            <a:lin ang="16200000" scaled="0"/>
          </a:gra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72000" rIns="108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zh-CN" altLang="zh-CN" sz="14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14" name="同侧圆角矩形 13"/>
          <p:cNvSpPr/>
          <p:nvPr>
            <p:custDataLst>
              <p:tags r:id="rId10"/>
            </p:custDataLst>
          </p:nvPr>
        </p:nvSpPr>
        <p:spPr>
          <a:xfrm>
            <a:off x="4326914" y="3254738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文档检索仓库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1497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857251" y="1"/>
          <a:ext cx="1289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4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57251" y="1"/>
                        <a:ext cx="12898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zh-CN" altLang="en-US" dirty="0" smtClean="0"/>
              <a:t>议程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 smtClean="0"/>
              <a:t>Agenda</a:t>
            </a:r>
            <a:endParaRPr lang="zh-CN" altLang="en-US" dirty="0"/>
          </a:p>
        </p:txBody>
      </p:sp>
      <p:sp>
        <p:nvSpPr>
          <p:cNvPr id="8" name="矩形 7"/>
          <p:cNvSpPr/>
          <p:nvPr>
            <p:custDataLst>
              <p:tags r:id="rId4"/>
            </p:custDataLst>
          </p:nvPr>
        </p:nvSpPr>
        <p:spPr>
          <a:xfrm>
            <a:off x="0" y="1623060"/>
            <a:ext cx="9144000" cy="4680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zh-CN" altLang="en-US" sz="900" kern="0" dirty="0">
              <a:latin typeface="Gill Sans MT" panose="020B0502020104020203" pitchFamily="34" charset="0"/>
              <a:ea typeface="宋体"/>
            </a:endParaRPr>
          </a:p>
        </p:txBody>
      </p:sp>
      <p:sp>
        <p:nvSpPr>
          <p:cNvPr id="7" name="TextBox 6"/>
          <p:cNvSpPr txBox="1"/>
          <p:nvPr>
            <p:custDataLst>
              <p:tags r:id="rId5"/>
            </p:custDataLst>
          </p:nvPr>
        </p:nvSpPr>
        <p:spPr>
          <a:xfrm>
            <a:off x="457200" y="1697764"/>
            <a:ext cx="6687900" cy="19236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zh-CN" altLang="en-US" sz="2000" b="1" kern="0" dirty="0" smtClean="0">
                <a:solidFill>
                  <a:schemeClr val="bg1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 快速入门</a:t>
            </a:r>
            <a:endParaRPr lang="en-US" altLang="zh-CN" sz="2000" b="1" kern="0" dirty="0" smtClean="0">
              <a:latin typeface="Gill Sans MT" panose="020B0502020104020203" pitchFamily="34" charset="0"/>
              <a:ea typeface="微软雅黑" panose="020B0503020204020204" pitchFamily="34" charset="-122"/>
            </a:endParaRPr>
          </a:p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zh-CN" altLang="en-US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 </a:t>
            </a:r>
            <a:r>
              <a:rPr lang="en-US" altLang="zh-CN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Scrum</a:t>
            </a:r>
            <a:r>
              <a:rPr lang="zh-CN" altLang="en-US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本质</a:t>
            </a:r>
            <a:endParaRPr lang="en-US" altLang="zh-CN" sz="2000" b="1" kern="0" dirty="0" smtClean="0">
              <a:solidFill>
                <a:srgbClr val="000000"/>
              </a:solidFill>
              <a:latin typeface="Gill Sans MT" panose="020B0502020104020203" pitchFamily="34" charset="0"/>
              <a:ea typeface="微软雅黑" panose="020B0503020204020204" pitchFamily="34" charset="-122"/>
            </a:endParaRPr>
          </a:p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zh-CN" altLang="en-US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 </a:t>
            </a:r>
            <a:r>
              <a:rPr lang="en-US" altLang="zh-CN" sz="2000" b="1" kern="0" dirty="0">
                <a:latin typeface="Gill Sans MT" panose="020B0502020104020203" pitchFamily="34" charset="0"/>
                <a:ea typeface="微软雅黑" panose="020B0503020204020204" pitchFamily="34" charset="-122"/>
              </a:rPr>
              <a:t>Scrum</a:t>
            </a:r>
            <a:r>
              <a:rPr lang="zh-CN" altLang="en-US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要求</a:t>
            </a:r>
            <a:endParaRPr lang="en-US" altLang="zh-CN" sz="2000" b="1" kern="0" dirty="0" smtClean="0">
              <a:latin typeface="Gill Sans MT" panose="020B0502020104020203" pitchFamily="34" charset="0"/>
              <a:ea typeface="微软雅黑" panose="020B0503020204020204" pitchFamily="34" charset="-122"/>
            </a:endParaRPr>
          </a:p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en-US" altLang="zh-CN" sz="2000" b="1" kern="0" dirty="0">
                <a:solidFill>
                  <a:srgbClr val="000000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 </a:t>
            </a:r>
            <a:r>
              <a:rPr lang="zh-CN" altLang="en-US" sz="2000" b="1" kern="0" dirty="0" smtClean="0">
                <a:solidFill>
                  <a:srgbClr val="000000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成功的</a:t>
            </a:r>
            <a:r>
              <a:rPr lang="en-US" altLang="zh-CN" sz="2000" b="1" kern="0" dirty="0" smtClean="0">
                <a:solidFill>
                  <a:srgbClr val="000000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Scrum</a:t>
            </a:r>
            <a:endParaRPr lang="zh-CN" altLang="en-US" sz="2000" b="1" kern="0" dirty="0">
              <a:solidFill>
                <a:srgbClr val="000000"/>
              </a:solidFill>
              <a:latin typeface="Gill Sans MT" panose="020B0502020104020203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31956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– </a:t>
            </a:r>
            <a:r>
              <a:rPr lang="zh-CN" altLang="en-US" dirty="0" smtClean="0"/>
              <a:t>文档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1031358" y="1047089"/>
            <a:ext cx="5565626" cy="6463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重沟通，轻文档，不是无文档；重要设计文档与外部交付文档是必要的</a:t>
            </a:r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sz="1400" kern="0" dirty="0">
              <a:solidFill>
                <a:srgbClr val="000000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内容比形式更重要，将需要传递的知识，用合适的方式保存和检索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" name="同侧圆角矩形 5"/>
          <p:cNvSpPr/>
          <p:nvPr>
            <p:custDataLst>
              <p:tags r:id="rId1"/>
            </p:custDataLst>
          </p:nvPr>
        </p:nvSpPr>
        <p:spPr>
          <a:xfrm>
            <a:off x="1610522" y="2344509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设计资料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7" name="同侧圆角矩形 6"/>
          <p:cNvSpPr/>
          <p:nvPr>
            <p:custDataLst>
              <p:tags r:id="rId2"/>
            </p:custDataLst>
          </p:nvPr>
        </p:nvSpPr>
        <p:spPr>
          <a:xfrm>
            <a:off x="4573800" y="2344509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使用资料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8" name="同侧圆角矩形 7"/>
          <p:cNvSpPr/>
          <p:nvPr>
            <p:custDataLst>
              <p:tags r:id="rId3"/>
            </p:custDataLst>
          </p:nvPr>
        </p:nvSpPr>
        <p:spPr>
          <a:xfrm>
            <a:off x="1628870" y="3393587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环境和运维资料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9" name="同侧圆角矩形 8"/>
          <p:cNvSpPr/>
          <p:nvPr>
            <p:custDataLst>
              <p:tags r:id="rId4"/>
            </p:custDataLst>
          </p:nvPr>
        </p:nvSpPr>
        <p:spPr>
          <a:xfrm>
            <a:off x="4573800" y="3393587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操作记录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0" name="同侧圆角矩形 9"/>
          <p:cNvSpPr/>
          <p:nvPr>
            <p:custDataLst>
              <p:tags r:id="rId5"/>
            </p:custDataLst>
          </p:nvPr>
        </p:nvSpPr>
        <p:spPr>
          <a:xfrm>
            <a:off x="1596972" y="2869048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任务跟踪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" name="同侧圆角矩形 10"/>
          <p:cNvSpPr/>
          <p:nvPr>
            <p:custDataLst>
              <p:tags r:id="rId6"/>
            </p:custDataLst>
          </p:nvPr>
        </p:nvSpPr>
        <p:spPr>
          <a:xfrm>
            <a:off x="4573800" y="2846840"/>
            <a:ext cx="2520000" cy="288000"/>
          </a:xfrm>
          <a:prstGeom prst="round2SameRect">
            <a:avLst>
              <a:gd name="adj1" fmla="val 33204"/>
              <a:gd name="adj2" fmla="val 0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rPr>
              <a:t>问题跟踪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3668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857251" y="1"/>
          <a:ext cx="1289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6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57251" y="1"/>
                        <a:ext cx="12898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zh-CN" altLang="en-US" dirty="0" smtClean="0"/>
              <a:t>议程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 smtClean="0"/>
              <a:t>Agenda</a:t>
            </a:r>
            <a:endParaRPr lang="zh-CN" altLang="en-US" dirty="0"/>
          </a:p>
        </p:txBody>
      </p:sp>
      <p:sp>
        <p:nvSpPr>
          <p:cNvPr id="8" name="矩形 7"/>
          <p:cNvSpPr/>
          <p:nvPr>
            <p:custDataLst>
              <p:tags r:id="rId4"/>
            </p:custDataLst>
          </p:nvPr>
        </p:nvSpPr>
        <p:spPr>
          <a:xfrm>
            <a:off x="0" y="3233725"/>
            <a:ext cx="9144000" cy="4680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zh-CN" altLang="en-US" sz="900" kern="0" dirty="0">
              <a:latin typeface="Gill Sans MT" panose="020B0502020104020203" pitchFamily="34" charset="0"/>
              <a:ea typeface="宋体"/>
            </a:endParaRPr>
          </a:p>
        </p:txBody>
      </p:sp>
      <p:sp>
        <p:nvSpPr>
          <p:cNvPr id="7" name="TextBox 6"/>
          <p:cNvSpPr txBox="1"/>
          <p:nvPr>
            <p:custDataLst>
              <p:tags r:id="rId5"/>
            </p:custDataLst>
          </p:nvPr>
        </p:nvSpPr>
        <p:spPr>
          <a:xfrm>
            <a:off x="457200" y="1697764"/>
            <a:ext cx="6687900" cy="19236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zh-CN" altLang="en-US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 快速入门</a:t>
            </a:r>
            <a:endParaRPr lang="en-US" altLang="zh-CN" sz="2000" b="1" kern="0" dirty="0" smtClean="0">
              <a:latin typeface="Gill Sans MT" panose="020B0502020104020203" pitchFamily="34" charset="0"/>
              <a:ea typeface="微软雅黑" panose="020B0503020204020204" pitchFamily="34" charset="-122"/>
            </a:endParaRPr>
          </a:p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zh-CN" altLang="en-US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 </a:t>
            </a:r>
            <a:r>
              <a:rPr lang="en-US" altLang="zh-CN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Scrum</a:t>
            </a:r>
            <a:r>
              <a:rPr lang="zh-CN" altLang="en-US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本质</a:t>
            </a:r>
            <a:endParaRPr lang="en-US" altLang="zh-CN" sz="2000" b="1" kern="0" dirty="0" smtClean="0">
              <a:latin typeface="Gill Sans MT" panose="020B0502020104020203" pitchFamily="34" charset="0"/>
              <a:ea typeface="微软雅黑" panose="020B0503020204020204" pitchFamily="34" charset="-122"/>
            </a:endParaRPr>
          </a:p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zh-CN" altLang="en-US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 </a:t>
            </a:r>
            <a:r>
              <a:rPr lang="en-US" altLang="zh-CN" sz="2000" b="1" kern="0" dirty="0">
                <a:latin typeface="Gill Sans MT" panose="020B0502020104020203" pitchFamily="34" charset="0"/>
                <a:ea typeface="微软雅黑" panose="020B0503020204020204" pitchFamily="34" charset="-122"/>
              </a:rPr>
              <a:t>Scrum</a:t>
            </a:r>
            <a:r>
              <a:rPr lang="zh-CN" altLang="en-US" sz="2000" b="1" kern="0" dirty="0" smtClean="0">
                <a:latin typeface="Gill Sans MT" panose="020B0502020104020203" pitchFamily="34" charset="0"/>
                <a:ea typeface="微软雅黑" panose="020B0503020204020204" pitchFamily="34" charset="-122"/>
              </a:rPr>
              <a:t>要求</a:t>
            </a:r>
            <a:endParaRPr lang="en-US" altLang="zh-CN" sz="2000" b="1" kern="0" dirty="0" smtClean="0">
              <a:latin typeface="Gill Sans MT" panose="020B0502020104020203" pitchFamily="34" charset="0"/>
              <a:ea typeface="微软雅黑" panose="020B0503020204020204" pitchFamily="34" charset="-122"/>
            </a:endParaRPr>
          </a:p>
          <a:p>
            <a:pPr marL="257175" indent="-257175" defTabSz="685800">
              <a:spcBef>
                <a:spcPts val="1800"/>
              </a:spcBef>
              <a:buFont typeface="+mj-lt"/>
              <a:buAutoNum type="alphaUcPeriod"/>
              <a:tabLst>
                <a:tab pos="6322219" algn="l"/>
              </a:tabLst>
            </a:pPr>
            <a:r>
              <a:rPr lang="en-US" altLang="zh-CN" sz="2000" b="1" kern="0" dirty="0">
                <a:solidFill>
                  <a:schemeClr val="bg1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 </a:t>
            </a:r>
            <a:r>
              <a:rPr lang="zh-CN" altLang="en-US" sz="2000" b="1" kern="0" dirty="0" smtClean="0">
                <a:solidFill>
                  <a:schemeClr val="bg1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成功的</a:t>
            </a:r>
            <a:r>
              <a:rPr lang="en-US" altLang="zh-CN" sz="2000" b="1" kern="0" dirty="0" smtClean="0">
                <a:solidFill>
                  <a:schemeClr val="bg1"/>
                </a:solidFill>
                <a:latin typeface="Gill Sans MT" panose="020B0502020104020203" pitchFamily="34" charset="0"/>
                <a:ea typeface="微软雅黑" panose="020B0503020204020204" pitchFamily="34" charset="-122"/>
              </a:rPr>
              <a:t>Scrum</a:t>
            </a:r>
            <a:endParaRPr lang="zh-CN" altLang="en-US" sz="2000" b="1" kern="0" dirty="0">
              <a:solidFill>
                <a:schemeClr val="bg1"/>
              </a:solidFill>
              <a:latin typeface="Gill Sans MT" panose="020B0502020104020203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22761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– </a:t>
            </a:r>
            <a:r>
              <a:rPr lang="zh-CN" altLang="en-US" dirty="0"/>
              <a:t>先</a:t>
            </a:r>
            <a:r>
              <a:rPr lang="zh-CN" altLang="en-US" dirty="0" smtClean="0"/>
              <a:t>说失败的</a:t>
            </a:r>
            <a:r>
              <a:rPr lang="en-US" altLang="zh-CN" dirty="0" smtClean="0"/>
              <a:t>Scrum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1031358" y="1047089"/>
            <a:ext cx="7410683" cy="15081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400" dirty="0" smtClean="0"/>
              <a:t>人员</a:t>
            </a:r>
            <a:r>
              <a:rPr lang="zh-CN" altLang="en-US" sz="1400" dirty="0"/>
              <a:t>水平</a:t>
            </a:r>
            <a:r>
              <a:rPr lang="zh-CN" altLang="en-US" sz="1400" dirty="0" smtClean="0"/>
              <a:t>不足，结构不合理，</a:t>
            </a:r>
            <a:r>
              <a:rPr lang="zh-CN" altLang="en-US" sz="1400" dirty="0"/>
              <a:t>缺乏</a:t>
            </a:r>
            <a:r>
              <a:rPr lang="zh-CN" altLang="en-US" sz="1400" dirty="0" smtClean="0"/>
              <a:t>主动性</a:t>
            </a:r>
            <a:endParaRPr lang="en-US" altLang="zh-CN" sz="1400" dirty="0" smtClean="0"/>
          </a:p>
          <a:p>
            <a:r>
              <a:rPr lang="zh-CN" altLang="en-US" sz="1400" dirty="0" smtClean="0"/>
              <a:t> </a:t>
            </a:r>
            <a:endParaRPr lang="zh-CN" altLang="en-US" sz="1400" dirty="0"/>
          </a:p>
          <a:p>
            <a:r>
              <a:rPr lang="zh-CN" altLang="en-US" sz="1400" dirty="0" smtClean="0"/>
              <a:t>团队</a:t>
            </a:r>
            <a:r>
              <a:rPr lang="zh-CN" altLang="en-US" sz="1400" dirty="0"/>
              <a:t>可视度不高、自动化不足</a:t>
            </a:r>
            <a:r>
              <a:rPr lang="zh-CN" altLang="en-US" sz="1400" dirty="0" smtClean="0"/>
              <a:t>，质量和过程问题</a:t>
            </a:r>
            <a:r>
              <a:rPr lang="zh-CN" altLang="en-US" sz="1400" dirty="0"/>
              <a:t>被掩盖拖延 </a:t>
            </a:r>
            <a:endParaRPr lang="en-US" altLang="zh-CN" sz="1400" dirty="0" smtClean="0"/>
          </a:p>
          <a:p>
            <a:endParaRPr lang="zh-CN" altLang="en-US" sz="1400" dirty="0"/>
          </a:p>
          <a:p>
            <a:r>
              <a:rPr lang="zh-CN" altLang="en-US" sz="1400" dirty="0" smtClean="0"/>
              <a:t>过于</a:t>
            </a:r>
            <a:r>
              <a:rPr lang="zh-CN" altLang="en-US" sz="1400" dirty="0"/>
              <a:t>缺乏文档，口口相传 （设计概念描述不清，设计思路被遗忘，开发出不满足要求的产品</a:t>
            </a:r>
            <a:r>
              <a:rPr lang="zh-CN" altLang="en-US" sz="1400" dirty="0" smtClean="0"/>
              <a:t>）</a:t>
            </a:r>
            <a:endParaRPr lang="en-US" altLang="zh-CN" sz="1400" dirty="0" smtClean="0"/>
          </a:p>
          <a:p>
            <a:r>
              <a:rPr lang="zh-CN" altLang="en-US" sz="1400" dirty="0" smtClean="0"/>
              <a:t> </a:t>
            </a:r>
            <a:endParaRPr lang="zh-CN" altLang="en-US" sz="1400" dirty="0"/>
          </a:p>
          <a:p>
            <a:r>
              <a:rPr lang="zh-CN" altLang="en-US" sz="1400" dirty="0" smtClean="0"/>
              <a:t>一</a:t>
            </a:r>
            <a:r>
              <a:rPr lang="zh-CN" altLang="en-US" sz="1400" dirty="0"/>
              <a:t>个</a:t>
            </a:r>
            <a:r>
              <a:rPr lang="en-US" altLang="zh-CN" sz="1400" dirty="0"/>
              <a:t>Sprint</a:t>
            </a:r>
            <a:r>
              <a:rPr lang="zh-CN" altLang="en-US" sz="1400" dirty="0"/>
              <a:t>计划了过多内容，或塞入了过多临时工</a:t>
            </a:r>
            <a:r>
              <a:rPr lang="zh-CN" altLang="en-US" sz="1400" dirty="0" smtClean="0"/>
              <a:t>作，不重视交付 </a:t>
            </a:r>
            <a:endParaRPr lang="zh-CN" altLang="en-US" sz="1400" dirty="0"/>
          </a:p>
        </p:txBody>
      </p:sp>
      <p:pic>
        <p:nvPicPr>
          <p:cNvPr id="69634" name="Picture 2" descr="思考 的图像结果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89"/>
          <a:stretch/>
        </p:blipFill>
        <p:spPr bwMode="auto">
          <a:xfrm>
            <a:off x="6690978" y="2746580"/>
            <a:ext cx="1896508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3426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– </a:t>
            </a:r>
            <a:r>
              <a:rPr lang="zh-CN" altLang="en-US" dirty="0" smtClean="0"/>
              <a:t>成功的</a:t>
            </a:r>
            <a:r>
              <a:rPr lang="en-US" altLang="zh-CN" dirty="0" smtClean="0"/>
              <a:t>Scrum</a:t>
            </a:r>
            <a:endParaRPr lang="zh-CN" altLang="en-US" dirty="0"/>
          </a:p>
        </p:txBody>
      </p:sp>
      <p:sp>
        <p:nvSpPr>
          <p:cNvPr id="4" name="矩形 3"/>
          <p:cNvSpPr/>
          <p:nvPr/>
        </p:nvSpPr>
        <p:spPr>
          <a:xfrm>
            <a:off x="3094672" y="2110085"/>
            <a:ext cx="2954656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zh-CN" altLang="en-US" sz="5400" b="1" cap="none" spc="0" dirty="0" smtClean="0">
                <a:ln/>
                <a:solidFill>
                  <a:schemeClr val="accent3"/>
                </a:solidFill>
                <a:effectLst/>
              </a:rPr>
              <a:t>质量第一</a:t>
            </a:r>
            <a:endParaRPr lang="zh-CN" altLang="en-US" sz="5400" b="1" cap="none" spc="0" dirty="0">
              <a:ln/>
              <a:solidFill>
                <a:schemeClr val="accent3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927976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– </a:t>
            </a:r>
            <a:r>
              <a:rPr lang="zh-CN" altLang="en-US" dirty="0" smtClean="0"/>
              <a:t>成功的</a:t>
            </a:r>
            <a:r>
              <a:rPr lang="en-US" altLang="zh-CN" dirty="0" smtClean="0"/>
              <a:t>Scrum</a:t>
            </a:r>
            <a:endParaRPr lang="zh-CN" altLang="en-US" dirty="0"/>
          </a:p>
        </p:txBody>
      </p:sp>
      <p:sp>
        <p:nvSpPr>
          <p:cNvPr id="2" name="文本框 1"/>
          <p:cNvSpPr txBox="1"/>
          <p:nvPr/>
        </p:nvSpPr>
        <p:spPr>
          <a:xfrm>
            <a:off x="592367" y="1559075"/>
            <a:ext cx="3949799" cy="6463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/>
            <a:r>
              <a:rPr lang="zh-CN" altLang="en-US" sz="1400" dirty="0"/>
              <a:t>在范围与质量中，选择质量，质量是第一要保证</a:t>
            </a:r>
            <a:r>
              <a:rPr lang="zh-CN" altLang="en-US" sz="1400" dirty="0" smtClean="0"/>
              <a:t>的</a:t>
            </a:r>
            <a:endParaRPr lang="en-US" altLang="zh-CN" sz="1400" dirty="0" smtClean="0"/>
          </a:p>
          <a:p>
            <a:pPr defTabSz="914400"/>
            <a:endParaRPr lang="en-US" altLang="zh-CN" sz="1400" dirty="0" smtClean="0"/>
          </a:p>
          <a:p>
            <a:pPr defTabSz="914400"/>
            <a:r>
              <a:rPr lang="zh-CN" altLang="en-US" sz="1400" dirty="0" smtClean="0"/>
              <a:t>提高质量，能节约</a:t>
            </a:r>
            <a:r>
              <a:rPr lang="zh-CN" altLang="en-US" sz="1400" dirty="0"/>
              <a:t>指数增长的</a:t>
            </a:r>
            <a:r>
              <a:rPr lang="zh-CN" altLang="en-US" sz="1400" dirty="0" smtClean="0"/>
              <a:t>维护时间和难度</a:t>
            </a:r>
            <a:endParaRPr lang="en-US" altLang="zh-CN" sz="1400" dirty="0" smtClean="0"/>
          </a:p>
        </p:txBody>
      </p:sp>
      <p:sp>
        <p:nvSpPr>
          <p:cNvPr id="3" name="圆角矩形 2"/>
          <p:cNvSpPr/>
          <p:nvPr/>
        </p:nvSpPr>
        <p:spPr>
          <a:xfrm>
            <a:off x="6188149" y="702708"/>
            <a:ext cx="1733107" cy="48814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6711578" y="833738"/>
            <a:ext cx="7181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需求分析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6188149" y="1497797"/>
            <a:ext cx="1733107" cy="48814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6711578" y="1628827"/>
            <a:ext cx="7181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功能设计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圆角矩形 10"/>
          <p:cNvSpPr/>
          <p:nvPr/>
        </p:nvSpPr>
        <p:spPr>
          <a:xfrm>
            <a:off x="6188149" y="2305501"/>
            <a:ext cx="1733107" cy="48814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711578" y="2436531"/>
            <a:ext cx="7181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代码实现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圆角矩形 12"/>
          <p:cNvSpPr/>
          <p:nvPr/>
        </p:nvSpPr>
        <p:spPr>
          <a:xfrm>
            <a:off x="6188149" y="3125820"/>
            <a:ext cx="1733107" cy="48814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6711578" y="3256850"/>
            <a:ext cx="7181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测试发布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等腰三角形 7"/>
          <p:cNvSpPr/>
          <p:nvPr/>
        </p:nvSpPr>
        <p:spPr>
          <a:xfrm>
            <a:off x="8070613" y="702708"/>
            <a:ext cx="808074" cy="2911252"/>
          </a:xfrm>
          <a:prstGeom prst="triangle">
            <a:avLst/>
          </a:prstGeom>
          <a:solidFill>
            <a:srgbClr val="FFC000"/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15" name="下箭头 14"/>
          <p:cNvSpPr/>
          <p:nvPr/>
        </p:nvSpPr>
        <p:spPr>
          <a:xfrm>
            <a:off x="6969638" y="1244013"/>
            <a:ext cx="164805" cy="212650"/>
          </a:xfrm>
          <a:prstGeom prst="downArrow">
            <a:avLst/>
          </a:prstGeom>
          <a:noFill/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17" name="下箭头 16"/>
          <p:cNvSpPr/>
          <p:nvPr/>
        </p:nvSpPr>
        <p:spPr>
          <a:xfrm>
            <a:off x="6988247" y="2070125"/>
            <a:ext cx="164805" cy="212650"/>
          </a:xfrm>
          <a:prstGeom prst="downArrow">
            <a:avLst/>
          </a:prstGeom>
          <a:noFill/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18" name="下箭头 17"/>
          <p:cNvSpPr/>
          <p:nvPr/>
        </p:nvSpPr>
        <p:spPr>
          <a:xfrm>
            <a:off x="6988246" y="2870966"/>
            <a:ext cx="164805" cy="212650"/>
          </a:xfrm>
          <a:prstGeom prst="downArrow">
            <a:avLst/>
          </a:prstGeom>
          <a:noFill/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6858823" y="3933524"/>
            <a:ext cx="161582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从需求开始保证质量</a:t>
            </a:r>
            <a:endParaRPr kumimoji="0" lang="en-US" altLang="zh-CN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20" name="Picture 2" descr="人  图标 的图像结果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5345" y="2327683"/>
            <a:ext cx="501623" cy="648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文本框 18"/>
          <p:cNvSpPr txBox="1"/>
          <p:nvPr/>
        </p:nvSpPr>
        <p:spPr>
          <a:xfrm>
            <a:off x="2006152" y="2630557"/>
            <a:ext cx="161582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个人保障交付物质量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2006152" y="3253322"/>
            <a:ext cx="179536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rgbClr val="000000"/>
                </a:solidFill>
              </a:rPr>
              <a:t>工具发现意外引入问题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2006152" y="3854669"/>
            <a:ext cx="143629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重构提高可维护性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6" name="圆角矩形 25"/>
          <p:cNvSpPr/>
          <p:nvPr/>
        </p:nvSpPr>
        <p:spPr>
          <a:xfrm>
            <a:off x="709414" y="853288"/>
            <a:ext cx="1117366" cy="39072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998792" y="946778"/>
            <a:ext cx="53860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做得多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8" name="圆角矩形 27"/>
          <p:cNvSpPr/>
          <p:nvPr/>
        </p:nvSpPr>
        <p:spPr>
          <a:xfrm>
            <a:off x="2818769" y="860024"/>
            <a:ext cx="1117366" cy="39072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+mn-cs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3108147" y="953514"/>
            <a:ext cx="53860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做得好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67588" name="Picture 4" descr="vs 的图像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7706" y="874783"/>
            <a:ext cx="351684" cy="372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文本框 20"/>
          <p:cNvSpPr txBox="1"/>
          <p:nvPr/>
        </p:nvSpPr>
        <p:spPr>
          <a:xfrm>
            <a:off x="2549980" y="809269"/>
            <a:ext cx="9938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-</a:t>
            </a:r>
            <a:endParaRPr kumimoji="0" lang="zh-CN" altLang="en-US" sz="2400" i="0" u="none" strike="noStrike" kern="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2053335" y="808155"/>
            <a:ext cx="9938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-</a:t>
            </a:r>
            <a:endParaRPr kumimoji="0" lang="zh-CN" altLang="en-US" sz="2400" i="0" u="none" strike="noStrike" kern="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67590" name="Picture 6" descr="工具 图标 的图像结果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8096" y="3125820"/>
            <a:ext cx="414204" cy="414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矩形 30"/>
          <p:cNvSpPr/>
          <p:nvPr/>
        </p:nvSpPr>
        <p:spPr>
          <a:xfrm>
            <a:off x="1085995" y="3700781"/>
            <a:ext cx="902811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2800" b="1" cap="none" spc="0" dirty="0" smtClean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重构</a:t>
            </a:r>
            <a:endParaRPr lang="zh-CN" altLang="en-US" sz="2800" b="1" cap="none" spc="0" dirty="0">
              <a:ln w="12700">
                <a:solidFill>
                  <a:schemeClr val="accent1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10122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– </a:t>
            </a:r>
            <a:r>
              <a:rPr lang="zh-CN" altLang="en-US" dirty="0" smtClean="0"/>
              <a:t>成功的</a:t>
            </a:r>
            <a:r>
              <a:rPr lang="en-US" altLang="zh-CN" dirty="0" smtClean="0"/>
              <a:t>Scrum</a:t>
            </a:r>
            <a:endParaRPr lang="zh-CN" altLang="en-US" dirty="0"/>
          </a:p>
        </p:txBody>
      </p:sp>
      <p:sp>
        <p:nvSpPr>
          <p:cNvPr id="4" name="矩形 3"/>
          <p:cNvSpPr/>
          <p:nvPr/>
        </p:nvSpPr>
        <p:spPr>
          <a:xfrm>
            <a:off x="839970" y="971573"/>
            <a:ext cx="750658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/>
              <a:t>什么时候设计</a:t>
            </a:r>
            <a:r>
              <a:rPr lang="zh-CN" altLang="en-US" dirty="0" smtClean="0"/>
              <a:t>：</a:t>
            </a:r>
            <a:endParaRPr lang="en-US" altLang="zh-CN" dirty="0" smtClean="0"/>
          </a:p>
          <a:p>
            <a:r>
              <a:rPr lang="en-US" altLang="zh-CN" dirty="0"/>
              <a:t>	</a:t>
            </a:r>
            <a:r>
              <a:rPr lang="zh-CN" altLang="en-US" dirty="0" smtClean="0"/>
              <a:t>设计</a:t>
            </a:r>
            <a:r>
              <a:rPr lang="zh-CN" altLang="en-US" dirty="0"/>
              <a:t>应在</a:t>
            </a:r>
            <a:r>
              <a:rPr lang="en-US" altLang="zh-CN" dirty="0"/>
              <a:t>Sprint</a:t>
            </a:r>
            <a:r>
              <a:rPr lang="zh-CN" altLang="en-US" dirty="0"/>
              <a:t>开始前完成，或在上个</a:t>
            </a:r>
            <a:r>
              <a:rPr lang="en-US" altLang="zh-CN" dirty="0"/>
              <a:t>Sprint</a:t>
            </a:r>
            <a:r>
              <a:rPr lang="zh-CN" altLang="en-US" dirty="0"/>
              <a:t>作为任务完成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r>
              <a:rPr lang="en-US" altLang="zh-CN" dirty="0" smtClean="0"/>
              <a:t>	</a:t>
            </a:r>
            <a:r>
              <a:rPr lang="zh-CN" altLang="en-US" dirty="0" smtClean="0"/>
              <a:t>等待</a:t>
            </a:r>
            <a:r>
              <a:rPr lang="zh-CN" altLang="en-US" dirty="0"/>
              <a:t>设计成熟需要时间，成熟后才</a:t>
            </a:r>
            <a:r>
              <a:rPr lang="zh-CN" altLang="en-US" dirty="0" smtClean="0"/>
              <a:t>开发</a:t>
            </a:r>
            <a:endParaRPr lang="zh-CN" altLang="en-US" dirty="0"/>
          </a:p>
          <a:p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b="1" dirty="0" smtClean="0"/>
              <a:t>良好</a:t>
            </a:r>
            <a:r>
              <a:rPr lang="zh-CN" altLang="en-US" b="1" dirty="0"/>
              <a:t>的设计和</a:t>
            </a:r>
            <a:r>
              <a:rPr lang="zh-CN" altLang="en-US" b="1" dirty="0" smtClean="0"/>
              <a:t>实现</a:t>
            </a:r>
            <a:r>
              <a:rPr lang="zh-CN" altLang="en-US" dirty="0" smtClean="0"/>
              <a:t>：</a:t>
            </a:r>
            <a:endParaRPr lang="en-US" altLang="zh-CN" dirty="0" smtClean="0"/>
          </a:p>
          <a:p>
            <a:r>
              <a:rPr lang="en-US" altLang="zh-CN" dirty="0"/>
              <a:t>	</a:t>
            </a:r>
            <a:r>
              <a:rPr lang="zh-CN" altLang="en-US" dirty="0" smtClean="0"/>
              <a:t>模块</a:t>
            </a:r>
            <a:r>
              <a:rPr lang="zh-CN" altLang="en-US" dirty="0"/>
              <a:t>独立单一职责易于维护、可持续集成和</a:t>
            </a:r>
            <a:r>
              <a:rPr lang="zh-CN" altLang="en-US" dirty="0" smtClean="0"/>
              <a:t>测试</a:t>
            </a:r>
            <a:endParaRPr lang="en-US" altLang="zh-CN" dirty="0" smtClean="0"/>
          </a:p>
          <a:p>
            <a:r>
              <a:rPr lang="en-US" altLang="zh-CN" dirty="0" smtClean="0"/>
              <a:t>	</a:t>
            </a:r>
            <a:r>
              <a:rPr lang="zh-CN" altLang="en-US" dirty="0" smtClean="0"/>
              <a:t>易于</a:t>
            </a:r>
            <a:r>
              <a:rPr lang="zh-CN" altLang="en-US" dirty="0"/>
              <a:t>重构，保持高质量 </a:t>
            </a:r>
          </a:p>
        </p:txBody>
      </p:sp>
      <p:pic>
        <p:nvPicPr>
          <p:cNvPr id="73730" name="Picture 2" descr="单一职责 的图像结果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675" y="3063985"/>
            <a:ext cx="1990725" cy="15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1913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– </a:t>
            </a:r>
            <a:r>
              <a:rPr lang="zh-CN" altLang="en-US" dirty="0" smtClean="0"/>
              <a:t>成功的</a:t>
            </a:r>
            <a:r>
              <a:rPr lang="en-US" altLang="zh-CN" dirty="0" smtClean="0"/>
              <a:t>Scrum</a:t>
            </a:r>
            <a:endParaRPr lang="zh-CN" altLang="en-US" dirty="0"/>
          </a:p>
        </p:txBody>
      </p:sp>
      <p:sp>
        <p:nvSpPr>
          <p:cNvPr id="4" name="矩形 3"/>
          <p:cNvSpPr/>
          <p:nvPr/>
        </p:nvSpPr>
        <p:spPr>
          <a:xfrm>
            <a:off x="2286000" y="1694587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dirty="0"/>
              <a:t>缺陷的优先级比新功能</a:t>
            </a:r>
            <a:r>
              <a:rPr lang="zh-CN" altLang="en-US" dirty="0" smtClean="0"/>
              <a:t>高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每个</a:t>
            </a:r>
            <a:r>
              <a:rPr lang="en-US" altLang="zh-CN" dirty="0"/>
              <a:t>Sprint</a:t>
            </a:r>
            <a:r>
              <a:rPr lang="zh-CN" altLang="en-US" dirty="0" smtClean="0"/>
              <a:t>都</a:t>
            </a:r>
            <a:r>
              <a:rPr lang="zh-CN" altLang="en-US" dirty="0"/>
              <a:t>应</a:t>
            </a:r>
            <a:r>
              <a:rPr lang="zh-CN" altLang="en-US" dirty="0" smtClean="0"/>
              <a:t>有</a:t>
            </a:r>
            <a:r>
              <a:rPr lang="zh-CN" altLang="en-US" dirty="0"/>
              <a:t>重构改进任务</a:t>
            </a:r>
          </a:p>
        </p:txBody>
      </p:sp>
      <p:pic>
        <p:nvPicPr>
          <p:cNvPr id="72706" name="Picture 2" descr="Bug 图标 的图像结果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920602"/>
            <a:ext cx="1914525" cy="183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8362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– </a:t>
            </a:r>
            <a:r>
              <a:rPr lang="zh-CN" altLang="en-US" dirty="0" smtClean="0"/>
              <a:t>成功的</a:t>
            </a:r>
            <a:r>
              <a:rPr lang="en-US" altLang="zh-CN" dirty="0" smtClean="0"/>
              <a:t>Scrum</a:t>
            </a:r>
            <a:endParaRPr lang="zh-CN" altLang="en-US" dirty="0"/>
          </a:p>
        </p:txBody>
      </p:sp>
      <p:sp>
        <p:nvSpPr>
          <p:cNvPr id="4" name="矩形 3"/>
          <p:cNvSpPr/>
          <p:nvPr/>
        </p:nvSpPr>
        <p:spPr>
          <a:xfrm>
            <a:off x="2287800" y="1102450"/>
            <a:ext cx="4572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b="1" dirty="0" smtClean="0"/>
              <a:t>可选的</a:t>
            </a:r>
            <a:r>
              <a:rPr lang="en-US" altLang="zh-CN" b="1" dirty="0" smtClean="0"/>
              <a:t>Tips</a:t>
            </a:r>
            <a:r>
              <a:rPr lang="zh-CN" altLang="en-US" dirty="0" smtClean="0"/>
              <a:t>： </a:t>
            </a:r>
            <a:endParaRPr lang="en-US" altLang="zh-CN" dirty="0" smtClean="0"/>
          </a:p>
          <a:p>
            <a:r>
              <a:rPr lang="en-US" altLang="zh-CN" dirty="0"/>
              <a:t>	</a:t>
            </a:r>
            <a:r>
              <a:rPr lang="en-US" altLang="zh-CN" dirty="0" smtClean="0"/>
              <a:t>Scrum Master  </a:t>
            </a:r>
            <a:r>
              <a:rPr lang="zh-CN" altLang="en-US" dirty="0" smtClean="0"/>
              <a:t>轮值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en-US" altLang="zh-CN" dirty="0" smtClean="0"/>
              <a:t>	</a:t>
            </a:r>
            <a:r>
              <a:rPr lang="zh-CN" altLang="en-US" dirty="0" smtClean="0"/>
              <a:t>模块</a:t>
            </a:r>
            <a:r>
              <a:rPr lang="zh-CN" altLang="en-US" dirty="0"/>
              <a:t>双</a:t>
            </a:r>
            <a:r>
              <a:rPr lang="en-US" altLang="zh-CN" dirty="0" smtClean="0"/>
              <a:t>Owner</a:t>
            </a:r>
          </a:p>
          <a:p>
            <a:endParaRPr lang="en-US" altLang="zh-CN" dirty="0" smtClean="0"/>
          </a:p>
          <a:p>
            <a:r>
              <a:rPr lang="en-US" altLang="zh-CN" dirty="0" smtClean="0"/>
              <a:t>	</a:t>
            </a:r>
            <a:r>
              <a:rPr lang="zh-CN" altLang="en-US" dirty="0" smtClean="0"/>
              <a:t>结对编程</a:t>
            </a:r>
            <a:endParaRPr lang="zh-CN" altLang="en-US" dirty="0"/>
          </a:p>
        </p:txBody>
      </p:sp>
      <p:pic>
        <p:nvPicPr>
          <p:cNvPr id="71682" name="Picture 2" descr="结对编程 的图像结果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05" y="3004472"/>
            <a:ext cx="2085975" cy="1543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790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4474234"/>
              </p:ext>
            </p:extLst>
          </p:nvPr>
        </p:nvGraphicFramePr>
        <p:xfrm>
          <a:off x="857251" y="1"/>
          <a:ext cx="1289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53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57251" y="1"/>
                        <a:ext cx="12898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直接连接符 5"/>
          <p:cNvCxnSpPr/>
          <p:nvPr>
            <p:custDataLst>
              <p:tags r:id="rId3"/>
            </p:custDataLst>
          </p:nvPr>
        </p:nvCxnSpPr>
        <p:spPr>
          <a:xfrm>
            <a:off x="0" y="2216568"/>
            <a:ext cx="9144000" cy="0"/>
          </a:xfrm>
          <a:prstGeom prst="line">
            <a:avLst/>
          </a:prstGeom>
          <a:ln w="476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椭圆 4"/>
          <p:cNvSpPr/>
          <p:nvPr>
            <p:custDataLst>
              <p:tags r:id="rId4"/>
            </p:custDataLst>
          </p:nvPr>
        </p:nvSpPr>
        <p:spPr>
          <a:xfrm>
            <a:off x="3501390" y="1145958"/>
            <a:ext cx="2141220" cy="2141220"/>
          </a:xfrm>
          <a:prstGeom prst="ellipse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ea typeface="宋体"/>
              <a:cs typeface="+mn-cs"/>
            </a:endParaRPr>
          </a:p>
        </p:txBody>
      </p:sp>
      <p:sp>
        <p:nvSpPr>
          <p:cNvPr id="48" name="Title 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867936" y="2378058"/>
            <a:ext cx="1408128" cy="246221"/>
          </a:xfrm>
          <a:prstGeom prst="rect">
            <a:avLst/>
          </a:prstGeom>
          <a:noFill/>
        </p:spPr>
        <p:txBody>
          <a:bodyPr vert="horz" wrap="none" lIns="54000" tIns="0" rIns="54000" bIns="0" rtlCol="0" anchor="ctr" anchorCtr="0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3200" b="0" kern="1200" spc="-15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b="1" spc="0" dirty="0">
                <a:solidFill>
                  <a:schemeClr val="tx1"/>
                </a:solidFill>
                <a:effectLst/>
                <a:latin typeface="Gill Sans MT" panose="020B0502020104020203" pitchFamily="34" charset="0"/>
              </a:rPr>
              <a:t>THANK YOU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520" y="1808857"/>
            <a:ext cx="1584960" cy="36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991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71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7200" y="252000"/>
            <a:ext cx="8233200" cy="448391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zh-CN" altLang="en-US" dirty="0" smtClean="0"/>
              <a:t>快速入门 </a:t>
            </a:r>
            <a:r>
              <a:rPr lang="en-US" altLang="zh-CN" sz="1600" dirty="0" smtClean="0"/>
              <a:t>– </a:t>
            </a:r>
            <a:r>
              <a:rPr lang="zh-CN" altLang="en-US" sz="1600" dirty="0" smtClean="0"/>
              <a:t>什么是敏捷和</a:t>
            </a:r>
            <a:r>
              <a:rPr lang="en-US" altLang="zh-CN" sz="1600" dirty="0" smtClean="0"/>
              <a:t>Scrum</a:t>
            </a:r>
            <a:endParaRPr lang="zh-CN" altLang="en-US" sz="1600" dirty="0"/>
          </a:p>
        </p:txBody>
      </p:sp>
      <p:pic>
        <p:nvPicPr>
          <p:cNvPr id="50182" name="Picture 6" descr="http://img.article.pchome.net/game/00/22/39/09/97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8863" y="831044"/>
            <a:ext cx="4809315" cy="3602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http://i1.17173cdn.com/2fhnvk/YWxqaGBf/outcms/KgnChrbkCeAlwdy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418" y="324595"/>
            <a:ext cx="2155645" cy="1225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文本框 5"/>
          <p:cNvSpPr txBox="1"/>
          <p:nvPr/>
        </p:nvSpPr>
        <p:spPr>
          <a:xfrm>
            <a:off x="6307418" y="2161368"/>
            <a:ext cx="692497" cy="193899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寻路</a:t>
            </a:r>
            <a:endParaRPr kumimoji="0" lang="en-US" altLang="zh-CN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  <a:p>
            <a:pPr defTabSz="914400"/>
            <a:r>
              <a:rPr lang="zh-CN" altLang="en-US" kern="0" dirty="0">
                <a:solidFill>
                  <a:schemeClr val="tx2"/>
                </a:solidFill>
              </a:rPr>
              <a:t>打怪兽</a:t>
            </a:r>
            <a:endParaRPr lang="en-US" altLang="zh-CN" kern="0" dirty="0">
              <a:solidFill>
                <a:schemeClr val="tx2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altLang="zh-CN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升级</a:t>
            </a:r>
            <a:endParaRPr kumimoji="0" lang="en-US" altLang="zh-CN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altLang="zh-CN" kern="0" dirty="0" smtClean="0">
              <a:solidFill>
                <a:schemeClr val="tx2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救公主</a:t>
            </a:r>
            <a:endParaRPr kumimoji="0" lang="zh-CN" altLang="en-US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79306" y="1971412"/>
            <a:ext cx="1894919" cy="2629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794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9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7200" y="252000"/>
            <a:ext cx="8233200" cy="448391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zh-CN" altLang="en-US" dirty="0" smtClean="0"/>
              <a:t>快速入门 </a:t>
            </a:r>
            <a:r>
              <a:rPr lang="en-US" altLang="zh-CN" sz="1600" dirty="0" smtClean="0"/>
              <a:t>– </a:t>
            </a:r>
            <a:r>
              <a:rPr lang="zh-CN" altLang="en-US" sz="1600" dirty="0" smtClean="0"/>
              <a:t>什么是敏捷和</a:t>
            </a:r>
            <a:r>
              <a:rPr lang="en-US" altLang="zh-CN" sz="1600" dirty="0" smtClean="0"/>
              <a:t>Scrum</a:t>
            </a:r>
            <a:endParaRPr lang="zh-CN" altLang="en-US" sz="1600" dirty="0"/>
          </a:p>
        </p:txBody>
      </p:sp>
      <p:pic>
        <p:nvPicPr>
          <p:cNvPr id="50182" name="Picture 6" descr="http://img.article.pchome.net/game/00/22/39/09/97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8863" y="831044"/>
            <a:ext cx="4809315" cy="3602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http://i1.17173cdn.com/2fhnvk/YWxqaGBf/outcms/KgnChrbkCeAlwdy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7963" y="324595"/>
            <a:ext cx="2155645" cy="1225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文本框 4"/>
          <p:cNvSpPr txBox="1"/>
          <p:nvPr/>
        </p:nvSpPr>
        <p:spPr>
          <a:xfrm>
            <a:off x="5579829" y="324595"/>
            <a:ext cx="35907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>
                <a:solidFill>
                  <a:srgbClr val="FF0000"/>
                </a:solidFill>
              </a:rPr>
              <a:t>终点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9" name="右箭头 8"/>
          <p:cNvSpPr/>
          <p:nvPr/>
        </p:nvSpPr>
        <p:spPr>
          <a:xfrm>
            <a:off x="5998970" y="365281"/>
            <a:ext cx="248380" cy="142672"/>
          </a:xfrm>
          <a:prstGeom prst="rightArrow">
            <a:avLst/>
          </a:prstGeom>
          <a:noFill/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8437123" y="1321952"/>
            <a:ext cx="7181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noProof="0" dirty="0" smtClean="0">
                <a:solidFill>
                  <a:srgbClr val="FF0000"/>
                </a:solidFill>
              </a:rPr>
              <a:t>当前位置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1" name="右箭头 10"/>
          <p:cNvSpPr/>
          <p:nvPr/>
        </p:nvSpPr>
        <p:spPr>
          <a:xfrm rot="13930060">
            <a:off x="8214787" y="1146411"/>
            <a:ext cx="248380" cy="142672"/>
          </a:xfrm>
          <a:prstGeom prst="rightArrow">
            <a:avLst/>
          </a:prstGeom>
          <a:noFill/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429402" y="1879191"/>
            <a:ext cx="7181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noProof="0" dirty="0" smtClean="0">
                <a:solidFill>
                  <a:srgbClr val="FF0000"/>
                </a:solidFill>
              </a:rPr>
              <a:t>全局视图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4" name="右箭头 13"/>
          <p:cNvSpPr/>
          <p:nvPr/>
        </p:nvSpPr>
        <p:spPr>
          <a:xfrm rot="16200000">
            <a:off x="6664284" y="1675390"/>
            <a:ext cx="248380" cy="142672"/>
          </a:xfrm>
          <a:prstGeom prst="rightArrow">
            <a:avLst/>
          </a:prstGeom>
          <a:noFill/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7558772" y="1867567"/>
            <a:ext cx="7181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noProof="0" dirty="0" smtClean="0">
                <a:solidFill>
                  <a:srgbClr val="FF0000"/>
                </a:solidFill>
              </a:rPr>
              <a:t>参考路径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6" name="右箭头 15"/>
          <p:cNvSpPr/>
          <p:nvPr/>
        </p:nvSpPr>
        <p:spPr>
          <a:xfrm rot="16200000">
            <a:off x="7793654" y="1663766"/>
            <a:ext cx="248380" cy="142672"/>
          </a:xfrm>
          <a:prstGeom prst="rightArrow">
            <a:avLst/>
          </a:prstGeom>
          <a:noFill/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7" name="右箭头 16"/>
          <p:cNvSpPr/>
          <p:nvPr/>
        </p:nvSpPr>
        <p:spPr>
          <a:xfrm rot="10800000">
            <a:off x="6134698" y="2871892"/>
            <a:ext cx="248380" cy="142672"/>
          </a:xfrm>
          <a:prstGeom prst="rightArrow">
            <a:avLst/>
          </a:prstGeom>
          <a:noFill/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6454413" y="2799120"/>
            <a:ext cx="255198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noProof="0" dirty="0" smtClean="0">
                <a:solidFill>
                  <a:srgbClr val="FF0000"/>
                </a:solidFill>
              </a:rPr>
              <a:t>现实世界</a:t>
            </a:r>
            <a:r>
              <a:rPr lang="zh-CN" altLang="en-US" sz="1100" kern="0" noProof="0" dirty="0" smtClean="0">
                <a:solidFill>
                  <a:srgbClr val="FF0000"/>
                </a:solidFill>
              </a:rPr>
              <a:t>（障碍、意外、小怪、</a:t>
            </a:r>
            <a:r>
              <a:rPr lang="en-US" altLang="zh-CN" sz="1100" kern="0" noProof="0" dirty="0" smtClean="0">
                <a:solidFill>
                  <a:srgbClr val="FF0000"/>
                </a:solidFill>
              </a:rPr>
              <a:t>Boss</a:t>
            </a:r>
            <a:r>
              <a:rPr lang="zh-CN" altLang="en-US" sz="1100" kern="0" noProof="0" dirty="0" smtClean="0">
                <a:solidFill>
                  <a:srgbClr val="FF0000"/>
                </a:solidFill>
              </a:rPr>
              <a:t>）</a:t>
            </a:r>
            <a:endParaRPr kumimoji="0" lang="zh-CN" altLang="en-US" sz="110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6554774" y="3503605"/>
            <a:ext cx="1795363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400" kern="0" noProof="0" dirty="0" smtClean="0">
                <a:solidFill>
                  <a:schemeClr val="tx2"/>
                </a:solidFill>
              </a:rPr>
              <a:t>1.</a:t>
            </a:r>
            <a:r>
              <a:rPr lang="zh-CN" altLang="en-US" sz="1400" kern="0" noProof="0" dirty="0" smtClean="0">
                <a:solidFill>
                  <a:schemeClr val="tx2"/>
                </a:solidFill>
              </a:rPr>
              <a:t>小步快跑，解决障碍</a:t>
            </a:r>
            <a:r>
              <a:rPr lang="en-US" altLang="zh-CN" sz="1400" kern="0" noProof="0" dirty="0" smtClean="0">
                <a:solidFill>
                  <a:schemeClr val="tx2"/>
                </a:solidFill>
              </a:rPr>
              <a:t/>
            </a:r>
            <a:br>
              <a:rPr lang="en-US" altLang="zh-CN" sz="1400" kern="0" noProof="0" dirty="0" smtClean="0">
                <a:solidFill>
                  <a:schemeClr val="tx2"/>
                </a:solidFill>
              </a:rPr>
            </a:br>
            <a:r>
              <a:rPr lang="en-US" altLang="zh-CN" sz="1400" kern="0" noProof="0" dirty="0" smtClean="0">
                <a:solidFill>
                  <a:schemeClr val="tx2"/>
                </a:solidFill>
              </a:rPr>
              <a:t>2.</a:t>
            </a:r>
            <a:r>
              <a:rPr lang="zh-CN" altLang="en-US" sz="1400" kern="0" noProof="0" dirty="0" smtClean="0">
                <a:solidFill>
                  <a:schemeClr val="tx2"/>
                </a:solidFill>
              </a:rPr>
              <a:t>调整方向，小步快跑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65299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</a:t>
            </a:r>
            <a:endParaRPr lang="zh-CN" altLang="en-US" dirty="0"/>
          </a:p>
        </p:txBody>
      </p:sp>
      <p:sp>
        <p:nvSpPr>
          <p:cNvPr id="3" name="圆角矩形 2"/>
          <p:cNvSpPr/>
          <p:nvPr/>
        </p:nvSpPr>
        <p:spPr>
          <a:xfrm>
            <a:off x="457200" y="1417320"/>
            <a:ext cx="921013" cy="923187"/>
          </a:xfrm>
          <a:prstGeom prst="roundRect">
            <a:avLst>
              <a:gd name="adj" fmla="val 8669"/>
            </a:avLst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359" tIns="31679" rIns="63359" bIns="316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 smtClean="0">
                <a:solidFill>
                  <a:schemeClr val="bg1"/>
                </a:solidFill>
                <a:latin typeface="Gill Sans MT" panose="020B0502020104020203" pitchFamily="34" charset="0"/>
                <a:ea typeface="宋体"/>
              </a:rPr>
              <a:t>角色</a:t>
            </a:r>
            <a:endParaRPr lang="zh-CN" altLang="en-US" sz="1400" b="1" kern="0" dirty="0">
              <a:solidFill>
                <a:schemeClr val="bg1"/>
              </a:solidFill>
              <a:latin typeface="Gill Sans MT" panose="020B0502020104020203" pitchFamily="34" charset="0"/>
              <a:ea typeface="宋体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1528645" y="1491628"/>
            <a:ext cx="7161755" cy="77457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/>
              <a:t>Product </a:t>
            </a:r>
            <a:r>
              <a:rPr lang="en-US" altLang="zh-CN" sz="1400" dirty="0" smtClean="0"/>
              <a:t>Owner </a:t>
            </a:r>
            <a:r>
              <a:rPr lang="en-US" altLang="zh-CN" sz="1400" dirty="0"/>
              <a:t> </a:t>
            </a:r>
            <a:r>
              <a:rPr lang="en-US" altLang="zh-CN" sz="1400" dirty="0" smtClean="0"/>
              <a:t>        </a:t>
            </a:r>
            <a:r>
              <a:rPr lang="zh-CN" altLang="en-US" sz="1400" dirty="0" smtClean="0"/>
              <a:t>（负责需求描述、优先级定义，确定每个</a:t>
            </a:r>
            <a:r>
              <a:rPr lang="en-US" altLang="zh-CN" sz="1400" dirty="0" smtClean="0"/>
              <a:t>Sprint</a:t>
            </a:r>
            <a:r>
              <a:rPr lang="zh-CN" altLang="en-US" sz="1400" dirty="0" smtClean="0"/>
              <a:t>内容）</a:t>
            </a:r>
            <a:endParaRPr lang="en-US" altLang="zh-CN" sz="1400" dirty="0" smtClean="0"/>
          </a:p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 smtClean="0"/>
              <a:t>Scrum Master</a:t>
            </a:r>
            <a:r>
              <a:rPr lang="en-US" altLang="zh-CN" sz="1400" dirty="0"/>
              <a:t> </a:t>
            </a:r>
            <a:r>
              <a:rPr lang="en-US" altLang="zh-CN" sz="1400" dirty="0" smtClean="0"/>
              <a:t>          </a:t>
            </a:r>
            <a:r>
              <a:rPr lang="en-US" altLang="zh-CN" sz="1400" dirty="0" smtClean="0"/>
              <a:t>  </a:t>
            </a:r>
            <a:r>
              <a:rPr lang="zh-CN" altLang="en-US" sz="1400" dirty="0" smtClean="0"/>
              <a:t>（</a:t>
            </a:r>
            <a:r>
              <a:rPr lang="zh-CN" altLang="en-US" sz="1400" dirty="0" smtClean="0"/>
              <a:t>负责保障</a:t>
            </a:r>
            <a:r>
              <a:rPr lang="en-US" altLang="zh-CN" sz="1400" dirty="0" smtClean="0"/>
              <a:t>Team</a:t>
            </a:r>
            <a:r>
              <a:rPr lang="zh-CN" altLang="en-US" sz="1400" dirty="0" smtClean="0"/>
              <a:t>按</a:t>
            </a:r>
            <a:r>
              <a:rPr lang="zh-CN" altLang="en-US" sz="1400" dirty="0"/>
              <a:t>敏捷</a:t>
            </a:r>
            <a:r>
              <a:rPr lang="zh-CN" altLang="en-US" sz="1400" dirty="0" smtClean="0"/>
              <a:t>良好执行，发现过程问题、提出建议）</a:t>
            </a:r>
            <a:endParaRPr lang="en-US" altLang="zh-CN" sz="1400" dirty="0" smtClean="0"/>
          </a:p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 smtClean="0"/>
              <a:t>Scrum </a:t>
            </a:r>
            <a:r>
              <a:rPr lang="en-US" altLang="zh-CN" sz="1400" dirty="0" smtClean="0"/>
              <a:t>Team	</a:t>
            </a:r>
            <a:r>
              <a:rPr lang="zh-CN" altLang="en-US" sz="1400" dirty="0" smtClean="0"/>
              <a:t>（</a:t>
            </a:r>
            <a:r>
              <a:rPr lang="zh-CN" altLang="en-US" sz="1400" dirty="0" smtClean="0"/>
              <a:t>按质按时交付，全栈全领域工程师）</a:t>
            </a:r>
            <a:endParaRPr lang="zh-CN" altLang="zh-CN" sz="1400" dirty="0">
              <a:solidFill>
                <a:srgbClr val="000000"/>
              </a:solidFill>
              <a:latin typeface="Gill Sans MT" panose="020B0502020104020203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528645" y="2584515"/>
            <a:ext cx="7161755" cy="77457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zh-CN" altLang="en-US" sz="1400" dirty="0"/>
              <a:t>产品</a:t>
            </a:r>
            <a:r>
              <a:rPr lang="en-US" altLang="zh-CN" sz="1400" dirty="0" smtClean="0"/>
              <a:t>Backlog            </a:t>
            </a:r>
            <a:r>
              <a:rPr lang="en-US" altLang="zh-CN" sz="1400" dirty="0" smtClean="0"/>
              <a:t>   </a:t>
            </a:r>
            <a:r>
              <a:rPr lang="zh-CN" altLang="en-US" sz="1400" dirty="0" smtClean="0"/>
              <a:t>（</a:t>
            </a:r>
            <a:r>
              <a:rPr lang="zh-CN" altLang="en-US" sz="1400" dirty="0" smtClean="0"/>
              <a:t>整个产品期望的功能列表和优先级）</a:t>
            </a:r>
            <a:endParaRPr lang="en-US" altLang="zh-CN" sz="1400" dirty="0" smtClean="0"/>
          </a:p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 smtClean="0"/>
              <a:t>Sprint Backlog	</a:t>
            </a:r>
            <a:r>
              <a:rPr lang="zh-CN" altLang="en-US" sz="1400" dirty="0" smtClean="0"/>
              <a:t>（</a:t>
            </a:r>
            <a:r>
              <a:rPr lang="zh-CN" altLang="en-US" sz="1400" dirty="0" smtClean="0"/>
              <a:t>当前</a:t>
            </a:r>
            <a:r>
              <a:rPr lang="en-US" altLang="zh-CN" sz="1400" dirty="0" smtClean="0"/>
              <a:t>Sprint</a:t>
            </a:r>
            <a:r>
              <a:rPr lang="zh-CN" altLang="en-US" sz="1400" dirty="0" smtClean="0"/>
              <a:t>任务列表和优先级）</a:t>
            </a:r>
            <a:endParaRPr lang="en-US" altLang="zh-CN" sz="1400" dirty="0" smtClean="0"/>
          </a:p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 smtClean="0"/>
              <a:t>Sprint </a:t>
            </a:r>
            <a:r>
              <a:rPr lang="zh-CN" altLang="en-US" sz="1400" dirty="0"/>
              <a:t>燃尽</a:t>
            </a:r>
            <a:r>
              <a:rPr lang="zh-CN" altLang="en-US" sz="1400" dirty="0" smtClean="0"/>
              <a:t>图</a:t>
            </a:r>
            <a:r>
              <a:rPr lang="en-US" altLang="zh-CN" sz="1400" dirty="0" smtClean="0"/>
              <a:t>	</a:t>
            </a:r>
            <a:r>
              <a:rPr lang="zh-CN" altLang="en-US" sz="1400" dirty="0" smtClean="0"/>
              <a:t>（</a:t>
            </a:r>
            <a:r>
              <a:rPr lang="zh-CN" altLang="en-US" sz="1400" dirty="0" smtClean="0"/>
              <a:t>工作量与完成程度的趋势图）</a:t>
            </a:r>
            <a:endParaRPr lang="zh-CN" altLang="zh-CN" sz="1400" dirty="0">
              <a:solidFill>
                <a:srgbClr val="000000"/>
              </a:solidFill>
              <a:latin typeface="Gill Sans MT" panose="020B0502020104020203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cxnSp>
        <p:nvCxnSpPr>
          <p:cNvPr id="14" name="直接连接符 13"/>
          <p:cNvCxnSpPr/>
          <p:nvPr/>
        </p:nvCxnSpPr>
        <p:spPr>
          <a:xfrm>
            <a:off x="1528645" y="2425357"/>
            <a:ext cx="71617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1528645" y="3518244"/>
            <a:ext cx="71617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矩形 14"/>
          <p:cNvSpPr/>
          <p:nvPr/>
        </p:nvSpPr>
        <p:spPr>
          <a:xfrm>
            <a:off x="1528645" y="3537619"/>
            <a:ext cx="7161755" cy="105413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/>
              <a:t>Plan </a:t>
            </a:r>
            <a:r>
              <a:rPr lang="en-US" altLang="zh-CN" sz="1400" dirty="0" smtClean="0"/>
              <a:t>Game              </a:t>
            </a:r>
            <a:r>
              <a:rPr lang="en-US" altLang="zh-CN" sz="1400" dirty="0" smtClean="0"/>
              <a:t>  </a:t>
            </a:r>
            <a:r>
              <a:rPr lang="zh-CN" altLang="en-US" sz="1400" dirty="0" smtClean="0"/>
              <a:t>（</a:t>
            </a:r>
            <a:r>
              <a:rPr lang="en-US" altLang="zh-CN" sz="1400" dirty="0"/>
              <a:t>2/4/8</a:t>
            </a:r>
            <a:r>
              <a:rPr lang="zh-CN" altLang="en-US" sz="1400" dirty="0"/>
              <a:t>小时，需求实现与规模估计</a:t>
            </a:r>
            <a:r>
              <a:rPr lang="zh-CN" altLang="en-US" sz="1400" dirty="0" smtClean="0"/>
              <a:t>）</a:t>
            </a:r>
            <a:endParaRPr lang="en-US" altLang="zh-CN" sz="1400" dirty="0" smtClean="0"/>
          </a:p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 smtClean="0"/>
              <a:t>Daily Meeting          </a:t>
            </a:r>
            <a:r>
              <a:rPr lang="en-US" altLang="zh-CN" sz="1400" dirty="0" smtClean="0"/>
              <a:t>  </a:t>
            </a:r>
            <a:r>
              <a:rPr lang="zh-CN" altLang="en-US" sz="1400" dirty="0" smtClean="0"/>
              <a:t>（</a:t>
            </a:r>
            <a:r>
              <a:rPr lang="en-US" altLang="zh-CN" sz="1400" dirty="0"/>
              <a:t>15</a:t>
            </a:r>
            <a:r>
              <a:rPr lang="zh-CN" altLang="en-US" sz="1400" dirty="0"/>
              <a:t>分钟</a:t>
            </a:r>
            <a:r>
              <a:rPr lang="en-US" altLang="zh-CN" sz="1400" dirty="0"/>
              <a:t>, </a:t>
            </a:r>
            <a:r>
              <a:rPr lang="zh-CN" altLang="en-US" sz="1400" dirty="0"/>
              <a:t>团队</a:t>
            </a:r>
            <a:r>
              <a:rPr lang="zh-CN" altLang="en-US" sz="1400" dirty="0" smtClean="0"/>
              <a:t>内状态同步，声明所需支持）</a:t>
            </a:r>
            <a:endParaRPr lang="en-US" altLang="zh-CN" sz="1400" dirty="0" smtClean="0"/>
          </a:p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 smtClean="0"/>
              <a:t>Demo Meeting           </a:t>
            </a:r>
            <a:r>
              <a:rPr lang="zh-CN" altLang="en-US" sz="1400" dirty="0" smtClean="0"/>
              <a:t>（</a:t>
            </a:r>
            <a:r>
              <a:rPr lang="en-US" altLang="zh-CN" sz="1400" dirty="0"/>
              <a:t>1/2/4</a:t>
            </a:r>
            <a:r>
              <a:rPr lang="zh-CN" altLang="en-US" sz="1400" dirty="0" smtClean="0"/>
              <a:t>小时，按质交付工作项）</a:t>
            </a:r>
            <a:endParaRPr lang="en-US" altLang="zh-CN" sz="1400" dirty="0" smtClean="0"/>
          </a:p>
          <a:p>
            <a:pPr marL="159254" lvl="1" indent="-159254">
              <a:spcBef>
                <a:spcPts val="528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altLang="zh-CN" sz="1400" dirty="0" smtClean="0"/>
              <a:t>Retrospective Meeting  </a:t>
            </a:r>
            <a:r>
              <a:rPr lang="zh-CN" altLang="en-US" sz="1400" dirty="0" smtClean="0"/>
              <a:t>（</a:t>
            </a:r>
            <a:r>
              <a:rPr lang="en-US" altLang="zh-CN" sz="1400" dirty="0"/>
              <a:t>30</a:t>
            </a:r>
            <a:r>
              <a:rPr lang="zh-CN" altLang="en-US" sz="1400" dirty="0"/>
              <a:t>分钟</a:t>
            </a:r>
            <a:r>
              <a:rPr lang="en-US" altLang="zh-CN" sz="1400" dirty="0"/>
              <a:t>/2</a:t>
            </a:r>
            <a:r>
              <a:rPr lang="zh-CN" altLang="en-US" sz="1400" dirty="0" smtClean="0"/>
              <a:t>小时，团队内部回顾和团队改进）</a:t>
            </a:r>
            <a:endParaRPr lang="zh-CN" altLang="zh-CN" sz="1400" dirty="0">
              <a:solidFill>
                <a:srgbClr val="000000"/>
              </a:solidFill>
              <a:latin typeface="Gill Sans MT" panose="020B0502020104020203" pitchFamily="34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457200" y="2510207"/>
            <a:ext cx="921013" cy="923187"/>
          </a:xfrm>
          <a:prstGeom prst="roundRect">
            <a:avLst>
              <a:gd name="adj" fmla="val 8669"/>
            </a:avLst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359" tIns="31679" rIns="63359" bIns="316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 smtClean="0">
                <a:solidFill>
                  <a:schemeClr val="bg1"/>
                </a:solidFill>
                <a:latin typeface="Gill Sans MT" panose="020B0502020104020203" pitchFamily="34" charset="0"/>
                <a:ea typeface="宋体"/>
              </a:rPr>
              <a:t>跟踪</a:t>
            </a:r>
            <a:endParaRPr lang="zh-CN" altLang="en-US" sz="1400" b="1" kern="0" dirty="0">
              <a:solidFill>
                <a:schemeClr val="bg1"/>
              </a:solidFill>
              <a:latin typeface="Gill Sans MT" panose="020B0502020104020203" pitchFamily="34" charset="0"/>
              <a:ea typeface="宋体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457200" y="3603093"/>
            <a:ext cx="921013" cy="923187"/>
          </a:xfrm>
          <a:prstGeom prst="roundRect">
            <a:avLst>
              <a:gd name="adj" fmla="val 8669"/>
            </a:avLst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359" tIns="31679" rIns="63359" bIns="316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kern="0" dirty="0">
                <a:solidFill>
                  <a:schemeClr val="bg1"/>
                </a:solidFill>
                <a:latin typeface="Gill Sans MT" panose="020B0502020104020203" pitchFamily="34" charset="0"/>
                <a:ea typeface="宋体"/>
              </a:rPr>
              <a:t>会议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4307697" y="434100"/>
            <a:ext cx="484748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noProof="0" dirty="0" smtClean="0">
                <a:solidFill>
                  <a:schemeClr val="tx2"/>
                </a:solidFill>
              </a:rPr>
              <a:t>将整个开发过程划分为 </a:t>
            </a:r>
            <a:r>
              <a:rPr lang="en-US" altLang="zh-CN" sz="1400" kern="0" noProof="0" dirty="0" smtClean="0">
                <a:solidFill>
                  <a:schemeClr val="tx2"/>
                </a:solidFill>
              </a:rPr>
              <a:t>2-4</a:t>
            </a:r>
            <a:r>
              <a:rPr lang="zh-CN" altLang="en-US" sz="1400" kern="0" noProof="0" dirty="0" smtClean="0">
                <a:solidFill>
                  <a:schemeClr val="tx2"/>
                </a:solidFill>
              </a:rPr>
              <a:t>周的</a:t>
            </a:r>
            <a:r>
              <a:rPr lang="en-US" altLang="zh-CN" sz="1400" kern="0" noProof="0" dirty="0" smtClean="0">
                <a:solidFill>
                  <a:schemeClr val="tx2"/>
                </a:solidFill>
              </a:rPr>
              <a:t>Sprint</a:t>
            </a:r>
            <a:r>
              <a:rPr lang="zh-CN" altLang="en-US" sz="1400" kern="0" noProof="0" dirty="0" smtClean="0">
                <a:solidFill>
                  <a:schemeClr val="tx2"/>
                </a:solidFill>
              </a:rPr>
              <a:t>，小步快跑，持续调整</a:t>
            </a:r>
            <a:endParaRPr kumimoji="0" lang="zh-CN" altLang="en-US" sz="140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pic>
        <p:nvPicPr>
          <p:cNvPr id="53250" name="Picture 2" descr="scrum 的图像结果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2991" y="-2301"/>
            <a:ext cx="2427006" cy="1448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252" name="Picture 4" descr="scrum 的图像结果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4279" y="2043575"/>
            <a:ext cx="1570076" cy="922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7019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– Plan Game</a:t>
            </a:r>
            <a:endParaRPr lang="zh-CN" altLang="en-US" dirty="0"/>
          </a:p>
        </p:txBody>
      </p:sp>
      <p:pic>
        <p:nvPicPr>
          <p:cNvPr id="58370" name="Picture 2" descr="scrum 的图像结果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9263" y="591725"/>
            <a:ext cx="2109453" cy="1186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696" y="1593909"/>
            <a:ext cx="5366326" cy="2604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528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– Plan Game</a:t>
            </a:r>
            <a:endParaRPr lang="zh-CN" altLang="en-US" dirty="0"/>
          </a:p>
        </p:txBody>
      </p:sp>
      <p:pic>
        <p:nvPicPr>
          <p:cNvPr id="60418" name="Picture 2" descr="https://www.frankwatching.com/app/uploads/2010/05/AH-sprint-planning-meeting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3216219"/>
            <a:ext cx="2411835" cy="1313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420" name="Picture 4" descr="scrum planning poker 的图像结果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7012" y="1921079"/>
            <a:ext cx="4973388" cy="2728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422" name="Picture 6" descr="scrum planning poker 的图像结果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949528"/>
            <a:ext cx="2914650" cy="1943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23735" y="249998"/>
            <a:ext cx="997478" cy="1399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92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– Daily meeting</a:t>
            </a:r>
            <a:endParaRPr lang="zh-CN" altLang="en-US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0739" y="855973"/>
            <a:ext cx="7847619" cy="379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273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</a:pPr>
            <a:r>
              <a:rPr lang="en-US" altLang="zh-CN" dirty="0" smtClean="0"/>
              <a:t>Scrum – Daily meeting</a:t>
            </a:r>
            <a:endParaRPr lang="zh-CN" altLang="en-US" dirty="0"/>
          </a:p>
        </p:txBody>
      </p:sp>
      <p:pic>
        <p:nvPicPr>
          <p:cNvPr id="56322" name="Picture 2" descr="scrum 的图像结果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1" y="1257188"/>
            <a:ext cx="2848062" cy="1613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24" name="Picture 4" descr="http://interfacedesignspace.com/wp-content/uploads/2016/11/scrum-wall-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6724" y="1257188"/>
            <a:ext cx="4974619" cy="3320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4614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4.43894580124526340000E+000&quot;&gt;&lt;m_ppcolschidx val=&quot;0&quot;/&gt;&lt;m_rgb r=&quot;d8&quot; g=&quot;d8&quot; b=&quot;d8&quot;/&gt;&lt;/elem&gt;&lt;elem m_fUsage=&quot;3.67628329657112650000E+000&quot;&gt;&lt;m_ppcolschidx val=&quot;0&quot;/&gt;&lt;m_rgb r=&quot;12&quot; g=&quot;25&quot; b=&quot;4c&quot;/&gt;&lt;/elem&gt;&lt;elem m_fUsage=&quot;9.00000000000000020000E-001&quot;&gt;&lt;m_ppcolschidx val=&quot;0&quot;/&gt;&lt;m_rgb r=&quot;0&quot; g=&quot;b0&quot; b=&quot;f0&quot;/&gt;&lt;/elem&gt;&lt;/m_vecMRU&gt;&lt;/m_mruColor&gt;&lt;m_mapectfillschemeMRU&gt;&lt;key val=&quot;3&quot;/&gt;&lt;elem&gt;&lt;m_nPartnerID val=&quot;530&quot;/&gt;&lt;m_nIndex val=&quot;4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86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ZxV2ysTEqDjAqZ5sNU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ZxV2ysTEqDjAqZ5sNU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nVl0Yr_0aeZpluVvy1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cNUxoOnUeI5sRrIauZH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Fc7kFi.0aTIV6zYZfC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4YtKZa0mRmjeQpaMu0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4YtKZa0mRmjeQpaMu0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4YtKZa0mRmjeQpaMu0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4YtKZa0mRmjeQpaMu0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4YtKZa0mRmjeQpaMu0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nVl0Yr_0aeZpluVvy1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A2nZqgUkqEiRaCliaIz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cNUxoOnUeI5sRrIauZ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Fc7kFi.0aTIV6zYZfC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4YtKZa0mRmjeQpaMu0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4YtKZa0mRmjeQpaMu0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4YtKZa0mRmjeQpaMu0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4YtKZa0mRmjeQpaMu0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2pGfLhK0yuaR8Opup5Z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4YtKZa0mRmjeQpaMu0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HJnVERHUawr5Pra8G9W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nVl0Yr_0aeZpluVvy1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vfq2JKFES5ftR90L4V.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cNUxoOnUeI5sRrIauZ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Fc7kFi.0aTIV6zYZfC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ofQPyyoEST9gBPZBk4J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0FwWvPJ0q0hljrXghzN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XATP4Vnkq_BFv9zRH6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nVl0Yr_0aeZpluVvy1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cNUxoOnUeI5sRrIauZ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Fc7kFi.0aTIV6zYZfCOQ"/>
</p:tagLst>
</file>

<file path=ppt/theme/theme1.xml><?xml version="1.0" encoding="utf-8"?>
<a:theme xmlns:a="http://schemas.openxmlformats.org/drawingml/2006/main" name="Office 主题​​">
  <a:themeElements>
    <a:clrScheme name="Pateo">
      <a:dk1>
        <a:srgbClr val="000000"/>
      </a:dk1>
      <a:lt1>
        <a:srgbClr val="FFFFFF"/>
      </a:lt1>
      <a:dk2>
        <a:srgbClr val="018CCF"/>
      </a:dk2>
      <a:lt2>
        <a:srgbClr val="72808A"/>
      </a:lt2>
      <a:accent1>
        <a:srgbClr val="015998"/>
      </a:accent1>
      <a:accent2>
        <a:srgbClr val="394147"/>
      </a:accent2>
      <a:accent3>
        <a:srgbClr val="12254C"/>
      </a:accent3>
      <a:accent4>
        <a:srgbClr val="D8D8D8"/>
      </a:accent4>
      <a:accent5>
        <a:srgbClr val="00B0F0"/>
      </a:accent5>
      <a:accent6>
        <a:srgbClr val="FFFFFF"/>
      </a:accent6>
      <a:hlink>
        <a:srgbClr val="FFFFFF"/>
      </a:hlink>
      <a:folHlink>
        <a:srgbClr val="FFFFFF"/>
      </a:folHlink>
    </a:clrScheme>
    <a:fontScheme name="Pateo">
      <a:majorFont>
        <a:latin typeface="Gill Sans MT"/>
        <a:ea typeface="微软雅黑"/>
        <a:cs typeface=""/>
      </a:majorFont>
      <a:minorFont>
        <a:latin typeface="Gill Sans M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 cap="flat" cmpd="sng" algn="ctr">
          <a:solidFill>
            <a:schemeClr val="bg2"/>
          </a:solidFill>
          <a:prstDash val="solid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kern="0" cap="none" spc="0" normalizeH="0" baseline="0" noProof="0" dirty="0" smtClean="0">
            <a:ln>
              <a:noFill/>
            </a:ln>
            <a:effectLst/>
            <a:uLnTx/>
            <a:uFillTx/>
            <a:cs typeface="+mn-cs"/>
          </a:defRPr>
        </a:defPPr>
      </a:lst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i="0" u="none" strike="noStrike" kern="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crum</Template>
  <TotalTime>256</TotalTime>
  <Words>597</Words>
  <Application>Microsoft Office PowerPoint</Application>
  <PresentationFormat>全屏显示(16:9)</PresentationFormat>
  <Paragraphs>157</Paragraphs>
  <Slides>28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8</vt:i4>
      </vt:variant>
    </vt:vector>
  </HeadingPairs>
  <TitlesOfParts>
    <vt:vector size="39" baseType="lpstr">
      <vt:lpstr>华文细黑</vt:lpstr>
      <vt:lpstr>宋体</vt:lpstr>
      <vt:lpstr>微软雅黑</vt:lpstr>
      <vt:lpstr>Arial</vt:lpstr>
      <vt:lpstr>Calibri</vt:lpstr>
      <vt:lpstr>Gill Sans MT</vt:lpstr>
      <vt:lpstr>Segoe UI</vt:lpstr>
      <vt:lpstr>Segoe UI Semilight</vt:lpstr>
      <vt:lpstr>Times New Roman</vt:lpstr>
      <vt:lpstr>Office 主题​​</vt:lpstr>
      <vt:lpstr>think-cell Slide</vt:lpstr>
      <vt:lpstr>PowerPoint 演示文稿</vt:lpstr>
      <vt:lpstr>议程 Agenda</vt:lpstr>
      <vt:lpstr>快速入门 – 什么是敏捷和Scrum</vt:lpstr>
      <vt:lpstr>快速入门 – 什么是敏捷和Scrum</vt:lpstr>
      <vt:lpstr>Scrum</vt:lpstr>
      <vt:lpstr>Scrum – Plan Game</vt:lpstr>
      <vt:lpstr>Scrum – Plan Game</vt:lpstr>
      <vt:lpstr>Scrum – Daily meeting</vt:lpstr>
      <vt:lpstr>Scrum – Daily meeting</vt:lpstr>
      <vt:lpstr>Scrum - kanban</vt:lpstr>
      <vt:lpstr>Scrum – 延烧图</vt:lpstr>
      <vt:lpstr>Scrum – Demo meeting</vt:lpstr>
      <vt:lpstr>Scrum – Retrospective meeting</vt:lpstr>
      <vt:lpstr>议程 Agenda</vt:lpstr>
      <vt:lpstr>Scrum – 本质</vt:lpstr>
      <vt:lpstr>议程 Agenda</vt:lpstr>
      <vt:lpstr>Scrum – 团队</vt:lpstr>
      <vt:lpstr>Scrum – 团队</vt:lpstr>
      <vt:lpstr>Scrum – 工具</vt:lpstr>
      <vt:lpstr>Scrum – 文档</vt:lpstr>
      <vt:lpstr>议程 Agenda</vt:lpstr>
      <vt:lpstr>Scrum – 先说失败的Scrum</vt:lpstr>
      <vt:lpstr>Scrum – 成功的Scrum</vt:lpstr>
      <vt:lpstr>Scrum – 成功的Scrum</vt:lpstr>
      <vt:lpstr>Scrum – 成功的Scrum</vt:lpstr>
      <vt:lpstr>Scrum – 成功的Scrum</vt:lpstr>
      <vt:lpstr>Scrum – 成功的Scrum</vt:lpstr>
      <vt:lpstr>PowerPoint 演示文稿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Zhelei Shen</dc:creator>
  <cp:lastModifiedBy>shen,zhelei(沈哲磊-SH)</cp:lastModifiedBy>
  <cp:revision>68</cp:revision>
  <cp:lastPrinted>2015-03-18T02:46:18Z</cp:lastPrinted>
  <dcterms:created xsi:type="dcterms:W3CDTF">2017-07-24T23:27:38Z</dcterms:created>
  <dcterms:modified xsi:type="dcterms:W3CDTF">2017-07-25T05:25:47Z</dcterms:modified>
</cp:coreProperties>
</file>